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handoutMasterIdLst>
    <p:handoutMasterId r:id="rId69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291" r:id="rId35"/>
    <p:sldId id="292" r:id="rId36"/>
    <p:sldId id="293" r:id="rId37"/>
    <p:sldId id="294" r:id="rId38"/>
    <p:sldId id="295" r:id="rId39"/>
    <p:sldId id="296" r:id="rId40"/>
    <p:sldId id="297" r:id="rId41"/>
    <p:sldId id="298" r:id="rId42"/>
    <p:sldId id="299" r:id="rId43"/>
    <p:sldId id="300" r:id="rId44"/>
    <p:sldId id="301" r:id="rId45"/>
    <p:sldId id="302" r:id="rId46"/>
    <p:sldId id="303" r:id="rId47"/>
    <p:sldId id="304" r:id="rId48"/>
    <p:sldId id="305" r:id="rId49"/>
    <p:sldId id="306" r:id="rId50"/>
    <p:sldId id="307" r:id="rId51"/>
    <p:sldId id="308" r:id="rId52"/>
    <p:sldId id="309" r:id="rId53"/>
    <p:sldId id="310" r:id="rId54"/>
    <p:sldId id="311" r:id="rId55"/>
    <p:sldId id="312" r:id="rId56"/>
    <p:sldId id="313" r:id="rId57"/>
    <p:sldId id="314" r:id="rId58"/>
    <p:sldId id="315" r:id="rId59"/>
    <p:sldId id="316" r:id="rId60"/>
    <p:sldId id="317" r:id="rId61"/>
    <p:sldId id="318" r:id="rId62"/>
    <p:sldId id="319" r:id="rId63"/>
    <p:sldId id="320" r:id="rId64"/>
    <p:sldId id="322" r:id="rId65"/>
    <p:sldId id="323" r:id="rId66"/>
    <p:sldId id="325" r:id="rId67"/>
    <p:sldId id="326" r:id="rId68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3" d="100"/>
          <a:sy n="93" d="100"/>
        </p:scale>
        <p:origin x="2082" y="72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B1D68-2BB1-4785-8F29-5DE5F29F9000}" type="datetimeFigureOut">
              <a:rPr lang="en-US" smtClean="0"/>
              <a:pPr/>
              <a:t>8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5EC1A4-1BE4-4242-AFB6-BE34F2BFC2C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121421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2051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181319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4099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586326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123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1211575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147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8462356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311790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208482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7171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40712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8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12700">
              <a:lnSpc>
                <a:spcPts val="1325"/>
              </a:lnSpc>
            </a:pPr>
            <a:r>
              <a:rPr lang="en-US" sz="1200" spc="-5" smtClean="0">
                <a:latin typeface="Symbol"/>
                <a:cs typeface="Symbol"/>
              </a:rPr>
              <a:t></a:t>
            </a:r>
            <a:r>
              <a:rPr lang="en-US" spc="-5" smtClean="0"/>
              <a:t>India </a:t>
            </a:r>
            <a:r>
              <a:rPr lang="en-US" spc="-10" smtClean="0"/>
              <a:t>SAP </a:t>
            </a:r>
            <a:r>
              <a:rPr lang="en-US" spc="-5" smtClean="0"/>
              <a:t>CoE, </a:t>
            </a:r>
            <a:r>
              <a:rPr lang="en-US" spc="-10" smtClean="0"/>
              <a:t>Slide</a:t>
            </a:r>
            <a:r>
              <a:rPr lang="en-US" spc="-45" smtClean="0"/>
              <a:t> </a:t>
            </a:r>
            <a:fld id="{81D60167-4931-47E6-BA6A-407CBD079E47}" type="slidenum">
              <a:rPr spc="-5" smtClean="0"/>
              <a:pPr marL="12700">
                <a:lnSpc>
                  <a:spcPts val="1325"/>
                </a:lnSpc>
              </a:pPr>
              <a:t>‹#›</a:t>
            </a:fld>
            <a:endParaRPr sz="1200"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399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8195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4276395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17626" y="6680304"/>
            <a:ext cx="1524635" cy="177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latin typeface="Symbol"/>
                <a:cs typeface="Symbol"/>
              </a:rPr>
              <a:t></a:t>
            </a:r>
            <a:r>
              <a:rPr spc="-5" dirty="0"/>
              <a:t>India </a:t>
            </a:r>
            <a:r>
              <a:rPr spc="-10" dirty="0"/>
              <a:t>SAP </a:t>
            </a:r>
            <a:r>
              <a:rPr spc="-5" dirty="0"/>
              <a:t>CoE, </a:t>
            </a:r>
            <a:r>
              <a:rPr spc="-10" dirty="0"/>
              <a:t>Slide</a:t>
            </a:r>
            <a:r>
              <a:rPr spc="-45" dirty="0"/>
              <a:t> </a:t>
            </a:r>
            <a:fld id="{81D60167-4931-47E6-BA6A-407CBD079E47}" type="slidenum">
              <a:rPr spc="-5" dirty="0"/>
              <a:pPr marL="12700">
                <a:lnSpc>
                  <a:spcPts val="1325"/>
                </a:lnSpc>
              </a:pPr>
              <a:t>‹#›</a:t>
            </a:fld>
            <a:endParaRPr sz="1200"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92965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3075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1722641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2048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02680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68385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72411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01176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219532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625119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1027" name="think-cell Slide" r:id="rId2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702804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8.jpe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openxmlformats.org/officeDocument/2006/relationships/image" Target="../media/image77.png"/><Relationship Id="rId39" Type="http://schemas.openxmlformats.org/officeDocument/2006/relationships/image" Target="../media/image90.png"/><Relationship Id="rId21" Type="http://schemas.openxmlformats.org/officeDocument/2006/relationships/image" Target="../media/image72.png"/><Relationship Id="rId34" Type="http://schemas.openxmlformats.org/officeDocument/2006/relationships/image" Target="../media/image85.png"/><Relationship Id="rId42" Type="http://schemas.openxmlformats.org/officeDocument/2006/relationships/image" Target="../media/image93.png"/><Relationship Id="rId47" Type="http://schemas.openxmlformats.org/officeDocument/2006/relationships/image" Target="../media/image98.png"/><Relationship Id="rId50" Type="http://schemas.openxmlformats.org/officeDocument/2006/relationships/image" Target="../media/image101.png"/><Relationship Id="rId55" Type="http://schemas.openxmlformats.org/officeDocument/2006/relationships/image" Target="../media/image106.png"/><Relationship Id="rId63" Type="http://schemas.openxmlformats.org/officeDocument/2006/relationships/image" Target="../media/image114.png"/><Relationship Id="rId68" Type="http://schemas.openxmlformats.org/officeDocument/2006/relationships/image" Target="../media/image119.png"/><Relationship Id="rId7" Type="http://schemas.openxmlformats.org/officeDocument/2006/relationships/image" Target="../media/image58.png"/><Relationship Id="rId71" Type="http://schemas.openxmlformats.org/officeDocument/2006/relationships/image" Target="../media/image122.png"/><Relationship Id="rId2" Type="http://schemas.openxmlformats.org/officeDocument/2006/relationships/image" Target="../media/image9.png"/><Relationship Id="rId16" Type="http://schemas.openxmlformats.org/officeDocument/2006/relationships/image" Target="../media/image67.png"/><Relationship Id="rId29" Type="http://schemas.openxmlformats.org/officeDocument/2006/relationships/image" Target="../media/image8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32" Type="http://schemas.openxmlformats.org/officeDocument/2006/relationships/image" Target="../media/image83.png"/><Relationship Id="rId37" Type="http://schemas.openxmlformats.org/officeDocument/2006/relationships/image" Target="../media/image88.png"/><Relationship Id="rId40" Type="http://schemas.openxmlformats.org/officeDocument/2006/relationships/image" Target="../media/image91.png"/><Relationship Id="rId45" Type="http://schemas.openxmlformats.org/officeDocument/2006/relationships/image" Target="../media/image96.png"/><Relationship Id="rId53" Type="http://schemas.openxmlformats.org/officeDocument/2006/relationships/image" Target="../media/image104.png"/><Relationship Id="rId58" Type="http://schemas.openxmlformats.org/officeDocument/2006/relationships/image" Target="../media/image109.png"/><Relationship Id="rId66" Type="http://schemas.openxmlformats.org/officeDocument/2006/relationships/image" Target="../media/image117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28" Type="http://schemas.openxmlformats.org/officeDocument/2006/relationships/image" Target="../media/image79.png"/><Relationship Id="rId36" Type="http://schemas.openxmlformats.org/officeDocument/2006/relationships/image" Target="../media/image87.png"/><Relationship Id="rId49" Type="http://schemas.openxmlformats.org/officeDocument/2006/relationships/image" Target="../media/image100.png"/><Relationship Id="rId57" Type="http://schemas.openxmlformats.org/officeDocument/2006/relationships/image" Target="../media/image108.png"/><Relationship Id="rId61" Type="http://schemas.openxmlformats.org/officeDocument/2006/relationships/image" Target="../media/image112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31" Type="http://schemas.openxmlformats.org/officeDocument/2006/relationships/image" Target="../media/image82.png"/><Relationship Id="rId44" Type="http://schemas.openxmlformats.org/officeDocument/2006/relationships/image" Target="../media/image95.png"/><Relationship Id="rId52" Type="http://schemas.openxmlformats.org/officeDocument/2006/relationships/image" Target="../media/image103.png"/><Relationship Id="rId60" Type="http://schemas.openxmlformats.org/officeDocument/2006/relationships/image" Target="../media/image111.png"/><Relationship Id="rId65" Type="http://schemas.openxmlformats.org/officeDocument/2006/relationships/image" Target="../media/image116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Relationship Id="rId27" Type="http://schemas.openxmlformats.org/officeDocument/2006/relationships/image" Target="../media/image78.png"/><Relationship Id="rId30" Type="http://schemas.openxmlformats.org/officeDocument/2006/relationships/image" Target="../media/image81.png"/><Relationship Id="rId35" Type="http://schemas.openxmlformats.org/officeDocument/2006/relationships/image" Target="../media/image86.png"/><Relationship Id="rId43" Type="http://schemas.openxmlformats.org/officeDocument/2006/relationships/image" Target="../media/image94.png"/><Relationship Id="rId48" Type="http://schemas.openxmlformats.org/officeDocument/2006/relationships/image" Target="../media/image99.png"/><Relationship Id="rId56" Type="http://schemas.openxmlformats.org/officeDocument/2006/relationships/image" Target="../media/image107.png"/><Relationship Id="rId64" Type="http://schemas.openxmlformats.org/officeDocument/2006/relationships/image" Target="../media/image115.png"/><Relationship Id="rId69" Type="http://schemas.openxmlformats.org/officeDocument/2006/relationships/image" Target="../media/image120.png"/><Relationship Id="rId8" Type="http://schemas.openxmlformats.org/officeDocument/2006/relationships/image" Target="../media/image59.png"/><Relationship Id="rId51" Type="http://schemas.openxmlformats.org/officeDocument/2006/relationships/image" Target="../media/image102.png"/><Relationship Id="rId3" Type="http://schemas.openxmlformats.org/officeDocument/2006/relationships/image" Target="../media/image54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png"/><Relationship Id="rId33" Type="http://schemas.openxmlformats.org/officeDocument/2006/relationships/image" Target="../media/image84.png"/><Relationship Id="rId38" Type="http://schemas.openxmlformats.org/officeDocument/2006/relationships/image" Target="../media/image89.png"/><Relationship Id="rId46" Type="http://schemas.openxmlformats.org/officeDocument/2006/relationships/image" Target="../media/image97.png"/><Relationship Id="rId59" Type="http://schemas.openxmlformats.org/officeDocument/2006/relationships/image" Target="../media/image110.png"/><Relationship Id="rId67" Type="http://schemas.openxmlformats.org/officeDocument/2006/relationships/image" Target="../media/image118.png"/><Relationship Id="rId20" Type="http://schemas.openxmlformats.org/officeDocument/2006/relationships/image" Target="../media/image71.png"/><Relationship Id="rId41" Type="http://schemas.openxmlformats.org/officeDocument/2006/relationships/image" Target="../media/image92.png"/><Relationship Id="rId54" Type="http://schemas.openxmlformats.org/officeDocument/2006/relationships/image" Target="../media/image105.png"/><Relationship Id="rId62" Type="http://schemas.openxmlformats.org/officeDocument/2006/relationships/image" Target="../media/image113.png"/><Relationship Id="rId70" Type="http://schemas.openxmlformats.org/officeDocument/2006/relationships/image" Target="../media/image1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image" Target="../media/image11.png"/><Relationship Id="rId7" Type="http://schemas.openxmlformats.org/officeDocument/2006/relationships/image" Target="../media/image130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3" Type="http://schemas.openxmlformats.org/officeDocument/2006/relationships/image" Target="../media/image132.png"/><Relationship Id="rId7" Type="http://schemas.openxmlformats.org/officeDocument/2006/relationships/image" Target="../media/image13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43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2.png"/><Relationship Id="rId5" Type="http://schemas.openxmlformats.org/officeDocument/2006/relationships/image" Target="../media/image141.jpeg"/><Relationship Id="rId4" Type="http://schemas.openxmlformats.org/officeDocument/2006/relationships/image" Target="../media/image1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148.png"/><Relationship Id="rId7" Type="http://schemas.openxmlformats.org/officeDocument/2006/relationships/image" Target="../media/image15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10" Type="http://schemas.openxmlformats.org/officeDocument/2006/relationships/image" Target="../media/image155.png"/><Relationship Id="rId4" Type="http://schemas.openxmlformats.org/officeDocument/2006/relationships/image" Target="../media/image149.png"/><Relationship Id="rId9" Type="http://schemas.openxmlformats.org/officeDocument/2006/relationships/image" Target="../media/image15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3" Type="http://schemas.openxmlformats.org/officeDocument/2006/relationships/image" Target="../media/image156.png"/><Relationship Id="rId7" Type="http://schemas.openxmlformats.org/officeDocument/2006/relationships/image" Target="../media/image16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9.png"/><Relationship Id="rId5" Type="http://schemas.openxmlformats.org/officeDocument/2006/relationships/image" Target="../media/image158.png"/><Relationship Id="rId4" Type="http://schemas.openxmlformats.org/officeDocument/2006/relationships/image" Target="../media/image15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7.png"/><Relationship Id="rId5" Type="http://schemas.openxmlformats.org/officeDocument/2006/relationships/image" Target="../media/image166.png"/><Relationship Id="rId4" Type="http://schemas.openxmlformats.org/officeDocument/2006/relationships/image" Target="../media/image16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3" Type="http://schemas.openxmlformats.org/officeDocument/2006/relationships/image" Target="../media/image169.png"/><Relationship Id="rId7" Type="http://schemas.openxmlformats.org/officeDocument/2006/relationships/image" Target="../media/image173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2.png"/><Relationship Id="rId5" Type="http://schemas.openxmlformats.org/officeDocument/2006/relationships/image" Target="../media/image171.png"/><Relationship Id="rId10" Type="http://schemas.openxmlformats.org/officeDocument/2006/relationships/image" Target="../media/image176.png"/><Relationship Id="rId4" Type="http://schemas.openxmlformats.org/officeDocument/2006/relationships/image" Target="../media/image170.png"/><Relationship Id="rId9" Type="http://schemas.openxmlformats.org/officeDocument/2006/relationships/image" Target="../media/image1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8.png"/><Relationship Id="rId13" Type="http://schemas.openxmlformats.org/officeDocument/2006/relationships/image" Target="../media/image193.png"/><Relationship Id="rId18" Type="http://schemas.openxmlformats.org/officeDocument/2006/relationships/image" Target="../media/image198.png"/><Relationship Id="rId3" Type="http://schemas.openxmlformats.org/officeDocument/2006/relationships/image" Target="../media/image183.png"/><Relationship Id="rId7" Type="http://schemas.openxmlformats.org/officeDocument/2006/relationships/image" Target="../media/image187.png"/><Relationship Id="rId12" Type="http://schemas.openxmlformats.org/officeDocument/2006/relationships/image" Target="../media/image192.png"/><Relationship Id="rId17" Type="http://schemas.openxmlformats.org/officeDocument/2006/relationships/image" Target="../media/image197.png"/><Relationship Id="rId2" Type="http://schemas.openxmlformats.org/officeDocument/2006/relationships/image" Target="../media/image182.png"/><Relationship Id="rId16" Type="http://schemas.openxmlformats.org/officeDocument/2006/relationships/image" Target="../media/image19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6.png"/><Relationship Id="rId11" Type="http://schemas.openxmlformats.org/officeDocument/2006/relationships/image" Target="../media/image191.png"/><Relationship Id="rId5" Type="http://schemas.openxmlformats.org/officeDocument/2006/relationships/image" Target="../media/image185.png"/><Relationship Id="rId15" Type="http://schemas.openxmlformats.org/officeDocument/2006/relationships/image" Target="../media/image195.png"/><Relationship Id="rId10" Type="http://schemas.openxmlformats.org/officeDocument/2006/relationships/image" Target="../media/image190.png"/><Relationship Id="rId19" Type="http://schemas.openxmlformats.org/officeDocument/2006/relationships/image" Target="../media/image199.png"/><Relationship Id="rId4" Type="http://schemas.openxmlformats.org/officeDocument/2006/relationships/image" Target="../media/image184.png"/><Relationship Id="rId9" Type="http://schemas.openxmlformats.org/officeDocument/2006/relationships/image" Target="../media/image189.png"/><Relationship Id="rId14" Type="http://schemas.openxmlformats.org/officeDocument/2006/relationships/image" Target="../media/image19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3.png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png"/><Relationship Id="rId13" Type="http://schemas.openxmlformats.org/officeDocument/2006/relationships/image" Target="../media/image216.png"/><Relationship Id="rId3" Type="http://schemas.openxmlformats.org/officeDocument/2006/relationships/image" Target="../media/image9.png"/><Relationship Id="rId7" Type="http://schemas.openxmlformats.org/officeDocument/2006/relationships/image" Target="../media/image210.png"/><Relationship Id="rId12" Type="http://schemas.openxmlformats.org/officeDocument/2006/relationships/image" Target="../media/image215.png"/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9.png"/><Relationship Id="rId11" Type="http://schemas.openxmlformats.org/officeDocument/2006/relationships/image" Target="../media/image214.png"/><Relationship Id="rId5" Type="http://schemas.openxmlformats.org/officeDocument/2006/relationships/image" Target="../media/image208.png"/><Relationship Id="rId10" Type="http://schemas.openxmlformats.org/officeDocument/2006/relationships/image" Target="../media/image213.png"/><Relationship Id="rId4" Type="http://schemas.openxmlformats.org/officeDocument/2006/relationships/image" Target="../media/image207.png"/><Relationship Id="rId9" Type="http://schemas.openxmlformats.org/officeDocument/2006/relationships/image" Target="../media/image21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21.png"/><Relationship Id="rId4" Type="http://schemas.openxmlformats.org/officeDocument/2006/relationships/image" Target="../media/image220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7.png"/><Relationship Id="rId13" Type="http://schemas.openxmlformats.org/officeDocument/2006/relationships/image" Target="../media/image232.png"/><Relationship Id="rId18" Type="http://schemas.openxmlformats.org/officeDocument/2006/relationships/image" Target="../media/image237.png"/><Relationship Id="rId3" Type="http://schemas.openxmlformats.org/officeDocument/2006/relationships/image" Target="../media/image222.png"/><Relationship Id="rId21" Type="http://schemas.openxmlformats.org/officeDocument/2006/relationships/image" Target="../media/image240.png"/><Relationship Id="rId7" Type="http://schemas.openxmlformats.org/officeDocument/2006/relationships/image" Target="../media/image226.png"/><Relationship Id="rId12" Type="http://schemas.openxmlformats.org/officeDocument/2006/relationships/image" Target="../media/image231.png"/><Relationship Id="rId17" Type="http://schemas.openxmlformats.org/officeDocument/2006/relationships/image" Target="../media/image236.png"/><Relationship Id="rId2" Type="http://schemas.openxmlformats.org/officeDocument/2006/relationships/image" Target="../media/image217.png"/><Relationship Id="rId16" Type="http://schemas.openxmlformats.org/officeDocument/2006/relationships/image" Target="../media/image235.png"/><Relationship Id="rId20" Type="http://schemas.openxmlformats.org/officeDocument/2006/relationships/image" Target="../media/image23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5.png"/><Relationship Id="rId11" Type="http://schemas.openxmlformats.org/officeDocument/2006/relationships/image" Target="../media/image230.png"/><Relationship Id="rId5" Type="http://schemas.openxmlformats.org/officeDocument/2006/relationships/image" Target="../media/image224.png"/><Relationship Id="rId15" Type="http://schemas.openxmlformats.org/officeDocument/2006/relationships/image" Target="../media/image234.png"/><Relationship Id="rId10" Type="http://schemas.openxmlformats.org/officeDocument/2006/relationships/image" Target="../media/image229.png"/><Relationship Id="rId19" Type="http://schemas.openxmlformats.org/officeDocument/2006/relationships/image" Target="../media/image238.png"/><Relationship Id="rId4" Type="http://schemas.openxmlformats.org/officeDocument/2006/relationships/image" Target="../media/image223.png"/><Relationship Id="rId9" Type="http://schemas.openxmlformats.org/officeDocument/2006/relationships/image" Target="../media/image228.png"/><Relationship Id="rId14" Type="http://schemas.openxmlformats.org/officeDocument/2006/relationships/image" Target="../media/image23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1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png"/><Relationship Id="rId4" Type="http://schemas.openxmlformats.org/officeDocument/2006/relationships/image" Target="../media/image2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9.png"/><Relationship Id="rId5" Type="http://schemas.openxmlformats.org/officeDocument/2006/relationships/image" Target="../media/image248.png"/><Relationship Id="rId4" Type="http://schemas.openxmlformats.org/officeDocument/2006/relationships/image" Target="../media/image247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png"/><Relationship Id="rId2" Type="http://schemas.openxmlformats.org/officeDocument/2006/relationships/image" Target="../media/image251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56.png"/><Relationship Id="rId4" Type="http://schemas.openxmlformats.org/officeDocument/2006/relationships/image" Target="../media/image25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59.png"/><Relationship Id="rId4" Type="http://schemas.openxmlformats.org/officeDocument/2006/relationships/image" Target="../media/image25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3.png"/><Relationship Id="rId5" Type="http://schemas.openxmlformats.org/officeDocument/2006/relationships/image" Target="../media/image262.jpeg"/><Relationship Id="rId4" Type="http://schemas.openxmlformats.org/officeDocument/2006/relationships/image" Target="../media/image261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67.jpeg"/><Relationship Id="rId4" Type="http://schemas.openxmlformats.org/officeDocument/2006/relationships/image" Target="../media/image26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png"/><Relationship Id="rId7" Type="http://schemas.openxmlformats.org/officeDocument/2006/relationships/image" Target="../media/image266.jpe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7.jpeg"/><Relationship Id="rId5" Type="http://schemas.openxmlformats.org/officeDocument/2006/relationships/image" Target="../media/image270.png"/><Relationship Id="rId4" Type="http://schemas.openxmlformats.org/officeDocument/2006/relationships/image" Target="../media/image26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7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8.png"/><Relationship Id="rId3" Type="http://schemas.openxmlformats.org/officeDocument/2006/relationships/image" Target="../media/image273.png"/><Relationship Id="rId7" Type="http://schemas.openxmlformats.org/officeDocument/2006/relationships/image" Target="../media/image27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6.png"/><Relationship Id="rId5" Type="http://schemas.openxmlformats.org/officeDocument/2006/relationships/image" Target="../media/image275.png"/><Relationship Id="rId10" Type="http://schemas.openxmlformats.org/officeDocument/2006/relationships/image" Target="../media/image280.png"/><Relationship Id="rId4" Type="http://schemas.openxmlformats.org/officeDocument/2006/relationships/image" Target="../media/image274.png"/><Relationship Id="rId9" Type="http://schemas.openxmlformats.org/officeDocument/2006/relationships/image" Target="../media/image27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7" Type="http://schemas.openxmlformats.org/officeDocument/2006/relationships/image" Target="../media/image28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3.png"/><Relationship Id="rId5" Type="http://schemas.openxmlformats.org/officeDocument/2006/relationships/image" Target="../media/image222.png"/><Relationship Id="rId4" Type="http://schemas.openxmlformats.org/officeDocument/2006/relationships/image" Target="../media/image282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5.png"/><Relationship Id="rId5" Type="http://schemas.openxmlformats.org/officeDocument/2006/relationships/image" Target="../media/image284.png"/><Relationship Id="rId4" Type="http://schemas.openxmlformats.org/officeDocument/2006/relationships/image" Target="../media/image179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1.png"/><Relationship Id="rId13" Type="http://schemas.openxmlformats.org/officeDocument/2006/relationships/image" Target="../media/image296.png"/><Relationship Id="rId3" Type="http://schemas.openxmlformats.org/officeDocument/2006/relationships/image" Target="../media/image286.png"/><Relationship Id="rId7" Type="http://schemas.openxmlformats.org/officeDocument/2006/relationships/image" Target="../media/image290.png"/><Relationship Id="rId12" Type="http://schemas.openxmlformats.org/officeDocument/2006/relationships/image" Target="../media/image29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9.png"/><Relationship Id="rId11" Type="http://schemas.openxmlformats.org/officeDocument/2006/relationships/image" Target="../media/image294.png"/><Relationship Id="rId5" Type="http://schemas.openxmlformats.org/officeDocument/2006/relationships/image" Target="../media/image288.png"/><Relationship Id="rId10" Type="http://schemas.openxmlformats.org/officeDocument/2006/relationships/image" Target="../media/image293.png"/><Relationship Id="rId4" Type="http://schemas.openxmlformats.org/officeDocument/2006/relationships/image" Target="../media/image287.png"/><Relationship Id="rId9" Type="http://schemas.openxmlformats.org/officeDocument/2006/relationships/image" Target="../media/image292.png"/><Relationship Id="rId14" Type="http://schemas.openxmlformats.org/officeDocument/2006/relationships/image" Target="../media/image29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7" Type="http://schemas.openxmlformats.org/officeDocument/2006/relationships/image" Target="../media/image30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9.png"/><Relationship Id="rId5" Type="http://schemas.openxmlformats.org/officeDocument/2006/relationships/image" Target="../media/image298.png"/><Relationship Id="rId4" Type="http://schemas.openxmlformats.org/officeDocument/2006/relationships/image" Target="../media/image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01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02.jpeg"/><Relationship Id="rId4" Type="http://schemas.openxmlformats.org/officeDocument/2006/relationships/image" Target="../media/image141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0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05.png"/><Relationship Id="rId4" Type="http://schemas.openxmlformats.org/officeDocument/2006/relationships/image" Target="../media/image30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0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png"/><Relationship Id="rId4" Type="http://schemas.openxmlformats.org/officeDocument/2006/relationships/image" Target="../media/image179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8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png"/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1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1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47"/>
          <p:cNvSpPr/>
          <p:nvPr/>
        </p:nvSpPr>
        <p:spPr>
          <a:xfrm>
            <a:off x="4264025" y="1098550"/>
            <a:ext cx="570230" cy="1249680"/>
          </a:xfrm>
          <a:custGeom>
            <a:avLst/>
            <a:gdLst/>
            <a:ahLst/>
            <a:cxnLst/>
            <a:rect l="l" t="t" r="r" b="b"/>
            <a:pathLst>
              <a:path w="570229" h="1249680">
                <a:moveTo>
                  <a:pt x="296925" y="0"/>
                </a:moveTo>
                <a:lnTo>
                  <a:pt x="255524" y="0"/>
                </a:lnTo>
                <a:lnTo>
                  <a:pt x="245999" y="1524"/>
                </a:lnTo>
                <a:lnTo>
                  <a:pt x="236474" y="3175"/>
                </a:lnTo>
                <a:lnTo>
                  <a:pt x="226949" y="6350"/>
                </a:lnTo>
                <a:lnTo>
                  <a:pt x="215900" y="6350"/>
                </a:lnTo>
                <a:lnTo>
                  <a:pt x="206375" y="9525"/>
                </a:lnTo>
                <a:lnTo>
                  <a:pt x="195199" y="11049"/>
                </a:lnTo>
                <a:lnTo>
                  <a:pt x="184150" y="15875"/>
                </a:lnTo>
                <a:lnTo>
                  <a:pt x="174625" y="19050"/>
                </a:lnTo>
                <a:lnTo>
                  <a:pt x="165100" y="23749"/>
                </a:lnTo>
                <a:lnTo>
                  <a:pt x="155575" y="28575"/>
                </a:lnTo>
                <a:lnTo>
                  <a:pt x="146050" y="34925"/>
                </a:lnTo>
                <a:lnTo>
                  <a:pt x="136525" y="39624"/>
                </a:lnTo>
                <a:lnTo>
                  <a:pt x="127000" y="47625"/>
                </a:lnTo>
                <a:lnTo>
                  <a:pt x="117475" y="53975"/>
                </a:lnTo>
                <a:lnTo>
                  <a:pt x="109474" y="63500"/>
                </a:lnTo>
                <a:lnTo>
                  <a:pt x="99949" y="71374"/>
                </a:lnTo>
                <a:lnTo>
                  <a:pt x="93599" y="80899"/>
                </a:lnTo>
                <a:lnTo>
                  <a:pt x="85725" y="90424"/>
                </a:lnTo>
                <a:lnTo>
                  <a:pt x="79375" y="101600"/>
                </a:lnTo>
                <a:lnTo>
                  <a:pt x="69850" y="111125"/>
                </a:lnTo>
                <a:lnTo>
                  <a:pt x="57150" y="136525"/>
                </a:lnTo>
                <a:lnTo>
                  <a:pt x="52324" y="150749"/>
                </a:lnTo>
                <a:lnTo>
                  <a:pt x="45974" y="166624"/>
                </a:lnTo>
                <a:lnTo>
                  <a:pt x="41275" y="180975"/>
                </a:lnTo>
                <a:lnTo>
                  <a:pt x="38100" y="188849"/>
                </a:lnTo>
                <a:lnTo>
                  <a:pt x="36449" y="196850"/>
                </a:lnTo>
                <a:lnTo>
                  <a:pt x="33274" y="206375"/>
                </a:lnTo>
                <a:lnTo>
                  <a:pt x="33274" y="215900"/>
                </a:lnTo>
                <a:lnTo>
                  <a:pt x="30099" y="223774"/>
                </a:lnTo>
                <a:lnTo>
                  <a:pt x="28575" y="231775"/>
                </a:lnTo>
                <a:lnTo>
                  <a:pt x="25400" y="241300"/>
                </a:lnTo>
                <a:lnTo>
                  <a:pt x="23749" y="250825"/>
                </a:lnTo>
                <a:lnTo>
                  <a:pt x="22225" y="260350"/>
                </a:lnTo>
                <a:lnTo>
                  <a:pt x="20574" y="269875"/>
                </a:lnTo>
                <a:lnTo>
                  <a:pt x="19050" y="280924"/>
                </a:lnTo>
                <a:lnTo>
                  <a:pt x="19050" y="292100"/>
                </a:lnTo>
                <a:lnTo>
                  <a:pt x="17399" y="301625"/>
                </a:lnTo>
                <a:lnTo>
                  <a:pt x="15875" y="311150"/>
                </a:lnTo>
                <a:lnTo>
                  <a:pt x="14224" y="322199"/>
                </a:lnTo>
                <a:lnTo>
                  <a:pt x="14224" y="336550"/>
                </a:lnTo>
                <a:lnTo>
                  <a:pt x="12700" y="346075"/>
                </a:lnTo>
                <a:lnTo>
                  <a:pt x="9525" y="358775"/>
                </a:lnTo>
                <a:lnTo>
                  <a:pt x="7874" y="369824"/>
                </a:lnTo>
                <a:lnTo>
                  <a:pt x="7786" y="393700"/>
                </a:lnTo>
                <a:lnTo>
                  <a:pt x="0" y="1239901"/>
                </a:lnTo>
                <a:lnTo>
                  <a:pt x="44450" y="1249426"/>
                </a:lnTo>
                <a:lnTo>
                  <a:pt x="42799" y="1244600"/>
                </a:lnTo>
                <a:lnTo>
                  <a:pt x="42799" y="1206500"/>
                </a:lnTo>
                <a:lnTo>
                  <a:pt x="41275" y="1195451"/>
                </a:lnTo>
                <a:lnTo>
                  <a:pt x="41275" y="984250"/>
                </a:lnTo>
                <a:lnTo>
                  <a:pt x="42799" y="973074"/>
                </a:lnTo>
                <a:lnTo>
                  <a:pt x="44450" y="968375"/>
                </a:lnTo>
                <a:lnTo>
                  <a:pt x="45974" y="393700"/>
                </a:lnTo>
                <a:lnTo>
                  <a:pt x="47625" y="379349"/>
                </a:lnTo>
                <a:lnTo>
                  <a:pt x="49149" y="366649"/>
                </a:lnTo>
                <a:lnTo>
                  <a:pt x="50800" y="352425"/>
                </a:lnTo>
                <a:lnTo>
                  <a:pt x="53975" y="339725"/>
                </a:lnTo>
                <a:lnTo>
                  <a:pt x="55499" y="323850"/>
                </a:lnTo>
                <a:lnTo>
                  <a:pt x="58674" y="309499"/>
                </a:lnTo>
                <a:lnTo>
                  <a:pt x="60325" y="295275"/>
                </a:lnTo>
                <a:lnTo>
                  <a:pt x="63500" y="282575"/>
                </a:lnTo>
                <a:lnTo>
                  <a:pt x="65024" y="268224"/>
                </a:lnTo>
                <a:lnTo>
                  <a:pt x="68199" y="254000"/>
                </a:lnTo>
                <a:lnTo>
                  <a:pt x="71374" y="239649"/>
                </a:lnTo>
                <a:lnTo>
                  <a:pt x="76200" y="225425"/>
                </a:lnTo>
                <a:lnTo>
                  <a:pt x="80899" y="211074"/>
                </a:lnTo>
                <a:lnTo>
                  <a:pt x="85725" y="196850"/>
                </a:lnTo>
                <a:lnTo>
                  <a:pt x="90424" y="184150"/>
                </a:lnTo>
                <a:lnTo>
                  <a:pt x="96774" y="172974"/>
                </a:lnTo>
                <a:lnTo>
                  <a:pt x="101600" y="157099"/>
                </a:lnTo>
                <a:lnTo>
                  <a:pt x="106299" y="146050"/>
                </a:lnTo>
                <a:lnTo>
                  <a:pt x="112649" y="133350"/>
                </a:lnTo>
                <a:lnTo>
                  <a:pt x="122174" y="123825"/>
                </a:lnTo>
                <a:lnTo>
                  <a:pt x="128524" y="112649"/>
                </a:lnTo>
                <a:lnTo>
                  <a:pt x="147574" y="93599"/>
                </a:lnTo>
                <a:lnTo>
                  <a:pt x="158750" y="85725"/>
                </a:lnTo>
                <a:lnTo>
                  <a:pt x="168275" y="76200"/>
                </a:lnTo>
                <a:lnTo>
                  <a:pt x="179324" y="69850"/>
                </a:lnTo>
                <a:lnTo>
                  <a:pt x="193675" y="63500"/>
                </a:lnTo>
                <a:lnTo>
                  <a:pt x="207899" y="58674"/>
                </a:lnTo>
                <a:lnTo>
                  <a:pt x="220599" y="53975"/>
                </a:lnTo>
                <a:lnTo>
                  <a:pt x="244475" y="49149"/>
                </a:lnTo>
                <a:lnTo>
                  <a:pt x="271399" y="49149"/>
                </a:lnTo>
                <a:lnTo>
                  <a:pt x="287400" y="47625"/>
                </a:lnTo>
                <a:lnTo>
                  <a:pt x="450337" y="47625"/>
                </a:lnTo>
                <a:lnTo>
                  <a:pt x="441325" y="41275"/>
                </a:lnTo>
                <a:lnTo>
                  <a:pt x="419100" y="30099"/>
                </a:lnTo>
                <a:lnTo>
                  <a:pt x="396875" y="20574"/>
                </a:lnTo>
                <a:lnTo>
                  <a:pt x="385825" y="17399"/>
                </a:lnTo>
                <a:lnTo>
                  <a:pt x="376300" y="12700"/>
                </a:lnTo>
                <a:lnTo>
                  <a:pt x="366775" y="11049"/>
                </a:lnTo>
                <a:lnTo>
                  <a:pt x="355600" y="7874"/>
                </a:lnTo>
                <a:lnTo>
                  <a:pt x="346075" y="6350"/>
                </a:lnTo>
                <a:lnTo>
                  <a:pt x="336550" y="4699"/>
                </a:lnTo>
                <a:lnTo>
                  <a:pt x="327025" y="3175"/>
                </a:lnTo>
                <a:lnTo>
                  <a:pt x="317500" y="1524"/>
                </a:lnTo>
                <a:lnTo>
                  <a:pt x="307975" y="1524"/>
                </a:lnTo>
                <a:lnTo>
                  <a:pt x="296925" y="0"/>
                </a:lnTo>
                <a:close/>
              </a:path>
              <a:path w="570229" h="1249680">
                <a:moveTo>
                  <a:pt x="450337" y="47625"/>
                </a:moveTo>
                <a:lnTo>
                  <a:pt x="303275" y="47625"/>
                </a:lnTo>
                <a:lnTo>
                  <a:pt x="317500" y="49149"/>
                </a:lnTo>
                <a:lnTo>
                  <a:pt x="333375" y="52324"/>
                </a:lnTo>
                <a:lnTo>
                  <a:pt x="346075" y="53975"/>
                </a:lnTo>
                <a:lnTo>
                  <a:pt x="361950" y="57150"/>
                </a:lnTo>
                <a:lnTo>
                  <a:pt x="387350" y="66675"/>
                </a:lnTo>
                <a:lnTo>
                  <a:pt x="396875" y="69850"/>
                </a:lnTo>
                <a:lnTo>
                  <a:pt x="408050" y="74549"/>
                </a:lnTo>
                <a:lnTo>
                  <a:pt x="427100" y="87249"/>
                </a:lnTo>
                <a:lnTo>
                  <a:pt x="434975" y="93599"/>
                </a:lnTo>
                <a:lnTo>
                  <a:pt x="444500" y="101600"/>
                </a:lnTo>
                <a:lnTo>
                  <a:pt x="452500" y="107950"/>
                </a:lnTo>
                <a:lnTo>
                  <a:pt x="460375" y="117475"/>
                </a:lnTo>
                <a:lnTo>
                  <a:pt x="465200" y="123825"/>
                </a:lnTo>
                <a:lnTo>
                  <a:pt x="471550" y="131699"/>
                </a:lnTo>
                <a:lnTo>
                  <a:pt x="476250" y="138049"/>
                </a:lnTo>
                <a:lnTo>
                  <a:pt x="482600" y="147574"/>
                </a:lnTo>
                <a:lnTo>
                  <a:pt x="485775" y="155575"/>
                </a:lnTo>
                <a:lnTo>
                  <a:pt x="490600" y="165100"/>
                </a:lnTo>
                <a:lnTo>
                  <a:pt x="495300" y="172974"/>
                </a:lnTo>
                <a:lnTo>
                  <a:pt x="500125" y="182499"/>
                </a:lnTo>
                <a:lnTo>
                  <a:pt x="504825" y="198374"/>
                </a:lnTo>
                <a:lnTo>
                  <a:pt x="511175" y="214249"/>
                </a:lnTo>
                <a:lnTo>
                  <a:pt x="517525" y="245999"/>
                </a:lnTo>
                <a:lnTo>
                  <a:pt x="517525" y="252349"/>
                </a:lnTo>
                <a:lnTo>
                  <a:pt x="520700" y="265049"/>
                </a:lnTo>
                <a:lnTo>
                  <a:pt x="520700" y="279400"/>
                </a:lnTo>
                <a:lnTo>
                  <a:pt x="522350" y="296799"/>
                </a:lnTo>
                <a:lnTo>
                  <a:pt x="522350" y="311150"/>
                </a:lnTo>
                <a:lnTo>
                  <a:pt x="523875" y="323850"/>
                </a:lnTo>
                <a:lnTo>
                  <a:pt x="523875" y="333375"/>
                </a:lnTo>
                <a:lnTo>
                  <a:pt x="525526" y="339725"/>
                </a:lnTo>
                <a:lnTo>
                  <a:pt x="569976" y="358775"/>
                </a:lnTo>
                <a:lnTo>
                  <a:pt x="566801" y="346075"/>
                </a:lnTo>
                <a:lnTo>
                  <a:pt x="566801" y="311150"/>
                </a:lnTo>
                <a:lnTo>
                  <a:pt x="565150" y="298450"/>
                </a:lnTo>
                <a:lnTo>
                  <a:pt x="563626" y="287274"/>
                </a:lnTo>
                <a:lnTo>
                  <a:pt x="563626" y="263525"/>
                </a:lnTo>
                <a:lnTo>
                  <a:pt x="558800" y="249174"/>
                </a:lnTo>
                <a:lnTo>
                  <a:pt x="557276" y="236474"/>
                </a:lnTo>
                <a:lnTo>
                  <a:pt x="555625" y="223774"/>
                </a:lnTo>
                <a:lnTo>
                  <a:pt x="554101" y="211074"/>
                </a:lnTo>
                <a:lnTo>
                  <a:pt x="549275" y="196850"/>
                </a:lnTo>
                <a:lnTo>
                  <a:pt x="546100" y="184150"/>
                </a:lnTo>
                <a:lnTo>
                  <a:pt x="541401" y="171450"/>
                </a:lnTo>
                <a:lnTo>
                  <a:pt x="538226" y="157099"/>
                </a:lnTo>
                <a:lnTo>
                  <a:pt x="528701" y="142875"/>
                </a:lnTo>
                <a:lnTo>
                  <a:pt x="522350" y="130175"/>
                </a:lnTo>
                <a:lnTo>
                  <a:pt x="514350" y="117475"/>
                </a:lnTo>
                <a:lnTo>
                  <a:pt x="508000" y="106299"/>
                </a:lnTo>
                <a:lnTo>
                  <a:pt x="498475" y="95250"/>
                </a:lnTo>
                <a:lnTo>
                  <a:pt x="490600" y="84074"/>
                </a:lnTo>
                <a:lnTo>
                  <a:pt x="481075" y="74549"/>
                </a:lnTo>
                <a:lnTo>
                  <a:pt x="473075" y="66675"/>
                </a:lnTo>
                <a:lnTo>
                  <a:pt x="462025" y="57150"/>
                </a:lnTo>
                <a:lnTo>
                  <a:pt x="452500" y="49149"/>
                </a:lnTo>
                <a:lnTo>
                  <a:pt x="450337" y="4762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Rectangle 73"/>
          <p:cNvSpPr/>
          <p:nvPr/>
        </p:nvSpPr>
        <p:spPr>
          <a:xfrm>
            <a:off x="1371600" y="3048000"/>
            <a:ext cx="675056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3600" b="1" dirty="0" smtClean="0">
                <a:latin typeface="Arial"/>
                <a:ea typeface="+mj-ea"/>
                <a:cs typeface="Arial"/>
              </a:rPr>
              <a:t>Sales &amp; Distribution Overview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990088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Challenges</a:t>
            </a:r>
          </a:p>
        </p:txBody>
      </p:sp>
      <p:sp>
        <p:nvSpPr>
          <p:cNvPr id="5" name="object 5"/>
          <p:cNvSpPr/>
          <p:nvPr/>
        </p:nvSpPr>
        <p:spPr>
          <a:xfrm>
            <a:off x="236220" y="1028700"/>
            <a:ext cx="574548" cy="5821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12420" y="1548383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12420" y="1877567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12420" y="2206751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12420" y="2535935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12420" y="2865120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12420" y="3194304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646654" y="2015427"/>
            <a:ext cx="142367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Facing</a:t>
            </a:r>
            <a:r>
              <a:rPr spc="-10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team</a:t>
            </a:r>
            <a:endParaRPr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0739" y="3312795"/>
            <a:ext cx="183133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Billing &amp;  Collection</a:t>
            </a:r>
            <a:r>
              <a:rPr spc="-12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pc="-55" dirty="0">
                <a:solidFill>
                  <a:srgbClr val="3333CC"/>
                </a:solidFill>
                <a:latin typeface="Arial"/>
                <a:cs typeface="Arial"/>
              </a:rPr>
              <a:t>Team</a:t>
            </a:r>
            <a:endParaRPr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5290" y="1456563"/>
            <a:ext cx="20002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Customer</a:t>
            </a:r>
            <a:r>
              <a:rPr spc="-12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details,</a:t>
            </a:r>
            <a:endParaRPr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15290" y="1761363"/>
            <a:ext cx="358394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Inquiries,</a:t>
            </a:r>
            <a:r>
              <a:rPr spc="-95" dirty="0">
                <a:latin typeface="Arial"/>
                <a:cs typeface="Arial"/>
              </a:rPr>
              <a:t> </a:t>
            </a:r>
            <a:r>
              <a:rPr spc="5" dirty="0">
                <a:latin typeface="Arial"/>
                <a:cs typeface="Arial"/>
              </a:rPr>
              <a:t>Complaints</a:t>
            </a:r>
            <a:r>
              <a:rPr spc="5" dirty="0" smtClean="0">
                <a:latin typeface="Arial"/>
                <a:cs typeface="Arial"/>
              </a:rPr>
              <a:t>,</a:t>
            </a:r>
            <a:r>
              <a:rPr lang="en-US" spc="5" dirty="0" smtClean="0">
                <a:latin typeface="Arial"/>
                <a:cs typeface="Arial"/>
              </a:rPr>
              <a:t>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Customer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15290" y="2066416"/>
            <a:ext cx="101726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Disputes</a:t>
            </a:r>
            <a:endParaRPr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574244" y="1085691"/>
            <a:ext cx="2202815" cy="14619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508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Number &amp; value</a:t>
            </a:r>
            <a:r>
              <a:rPr spc="-13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of  orders received &amp;  processed</a:t>
            </a:r>
          </a:p>
          <a:p>
            <a:pPr marL="12700" marR="956310">
              <a:lnSpc>
                <a:spcPct val="100000"/>
              </a:lnSpc>
              <a:spcBef>
                <a:spcPts val="575"/>
              </a:spcBef>
            </a:pP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Order  </a:t>
            </a:r>
            <a:r>
              <a:rPr spc="-5" dirty="0">
                <a:solidFill>
                  <a:srgbClr val="3333CC"/>
                </a:solidFill>
                <a:latin typeface="Arial"/>
                <a:cs typeface="Arial"/>
              </a:rPr>
              <a:t>Entry</a:t>
            </a:r>
            <a:r>
              <a:rPr spc="-10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team</a:t>
            </a:r>
            <a:endParaRPr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270375" y="4440173"/>
            <a:ext cx="4200525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>
                <a:solidFill>
                  <a:srgbClr val="3333CC"/>
                </a:solidFill>
                <a:latin typeface="Arial"/>
                <a:cs typeface="Arial"/>
              </a:rPr>
              <a:t>Warehousing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&amp;</a:t>
            </a:r>
            <a:r>
              <a:rPr spc="-13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supply</a:t>
            </a:r>
            <a:endParaRPr>
              <a:latin typeface="Arial"/>
              <a:cs typeface="Arial"/>
            </a:endParaRPr>
          </a:p>
          <a:p>
            <a:pPr marL="165100" marR="5080">
              <a:lnSpc>
                <a:spcPct val="100000"/>
              </a:lnSpc>
              <a:spcBef>
                <a:spcPts val="625"/>
              </a:spcBef>
            </a:pPr>
            <a:r>
              <a:rPr spc="-5" dirty="0">
                <a:latin typeface="Arial"/>
                <a:cs typeface="Arial"/>
              </a:rPr>
              <a:t>Availability </a:t>
            </a:r>
            <a:r>
              <a:rPr dirty="0">
                <a:latin typeface="Arial"/>
                <a:cs typeface="Arial"/>
              </a:rPr>
              <a:t>of products  </a:t>
            </a:r>
            <a:r>
              <a:rPr spc="-5" dirty="0">
                <a:latin typeface="Arial"/>
                <a:cs typeface="Arial"/>
              </a:rPr>
              <a:t>Transporters </a:t>
            </a:r>
            <a:r>
              <a:rPr dirty="0">
                <a:latin typeface="Arial"/>
                <a:cs typeface="Arial"/>
              </a:rPr>
              <a:t>&amp; transportation</a:t>
            </a:r>
            <a:r>
              <a:rPr spc="-18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costs,  materials handling &amp;</a:t>
            </a:r>
            <a:r>
              <a:rPr spc="-10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packing</a:t>
            </a:r>
            <a:endParaRPr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04800" y="2819400"/>
            <a:ext cx="2971800" cy="0"/>
          </a:xfrm>
          <a:custGeom>
            <a:avLst/>
            <a:gdLst/>
            <a:ahLst/>
            <a:cxnLst/>
            <a:rect l="l" t="t" r="r" b="b"/>
            <a:pathLst>
              <a:path w="2971800">
                <a:moveTo>
                  <a:pt x="0" y="0"/>
                </a:moveTo>
                <a:lnTo>
                  <a:pt x="2971800" y="0"/>
                </a:lnTo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105400" y="2667000"/>
            <a:ext cx="3581400" cy="0"/>
          </a:xfrm>
          <a:custGeom>
            <a:avLst/>
            <a:gdLst/>
            <a:ahLst/>
            <a:cxnLst/>
            <a:rect l="l" t="t" r="r" b="b"/>
            <a:pathLst>
              <a:path w="3581400">
                <a:moveTo>
                  <a:pt x="0" y="0"/>
                </a:moveTo>
                <a:lnTo>
                  <a:pt x="3581400" y="0"/>
                </a:lnTo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105400" y="4419600"/>
            <a:ext cx="3581400" cy="0"/>
          </a:xfrm>
          <a:custGeom>
            <a:avLst/>
            <a:gdLst/>
            <a:ahLst/>
            <a:cxnLst/>
            <a:rect l="l" t="t" r="r" b="b"/>
            <a:pathLst>
              <a:path w="3581400">
                <a:moveTo>
                  <a:pt x="0" y="0"/>
                </a:moveTo>
                <a:lnTo>
                  <a:pt x="3581400" y="0"/>
                </a:lnTo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886200" y="4114800"/>
            <a:ext cx="0" cy="1600200"/>
          </a:xfrm>
          <a:custGeom>
            <a:avLst/>
            <a:gdLst/>
            <a:ahLst/>
            <a:cxnLst/>
            <a:rect l="l" t="t" r="r" b="b"/>
            <a:pathLst>
              <a:path h="1600200">
                <a:moveTo>
                  <a:pt x="0" y="1600200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373881" y="1224182"/>
            <a:ext cx="45719" cy="1290418"/>
          </a:xfrm>
          <a:custGeom>
            <a:avLst/>
            <a:gdLst/>
            <a:ahLst/>
            <a:cxnLst/>
            <a:rect l="l" t="t" r="r" b="b"/>
            <a:pathLst>
              <a:path h="1600200">
                <a:moveTo>
                  <a:pt x="0" y="1600200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6099428" y="2702814"/>
            <a:ext cx="2771140" cy="1099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Data</a:t>
            </a:r>
            <a:endParaRPr>
              <a:latin typeface="Arial"/>
              <a:cs typeface="Arial"/>
            </a:endParaRPr>
          </a:p>
          <a:p>
            <a:pPr marL="393700" marR="5080" indent="-381000">
              <a:lnSpc>
                <a:spcPct val="98600"/>
              </a:lnSpc>
              <a:spcBef>
                <a:spcPts val="35"/>
              </a:spcBef>
            </a:pP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Management team  </a:t>
            </a:r>
            <a:r>
              <a:rPr dirty="0">
                <a:latin typeface="Arial"/>
                <a:cs typeface="Arial"/>
              </a:rPr>
              <a:t>Prices, Costs,</a:t>
            </a:r>
            <a:r>
              <a:rPr spc="-185" dirty="0">
                <a:latin typeface="Arial"/>
                <a:cs typeface="Arial"/>
              </a:rPr>
              <a:t> </a:t>
            </a:r>
            <a:r>
              <a:rPr spc="-35" dirty="0">
                <a:latin typeface="Arial"/>
                <a:cs typeface="Arial"/>
              </a:rPr>
              <a:t>Taxes,  </a:t>
            </a:r>
            <a:r>
              <a:rPr spc="-5" dirty="0">
                <a:latin typeface="Arial"/>
                <a:cs typeface="Arial"/>
              </a:rPr>
              <a:t>Offers, </a:t>
            </a:r>
            <a:r>
              <a:rPr spc="-20" dirty="0">
                <a:latin typeface="Arial"/>
                <a:cs typeface="Arial"/>
              </a:rPr>
              <a:t>Validity  </a:t>
            </a:r>
            <a:r>
              <a:rPr dirty="0">
                <a:latin typeface="Arial"/>
                <a:cs typeface="Arial"/>
              </a:rPr>
              <a:t>periods</a:t>
            </a:r>
            <a:endParaRPr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31140" y="4367021"/>
            <a:ext cx="23901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Prices, Costs,</a:t>
            </a:r>
            <a:r>
              <a:rPr spc="-185" dirty="0">
                <a:latin typeface="Arial"/>
                <a:cs typeface="Arial"/>
              </a:rPr>
              <a:t> </a:t>
            </a:r>
            <a:r>
              <a:rPr spc="-35" dirty="0">
                <a:latin typeface="Arial"/>
                <a:cs typeface="Arial"/>
              </a:rPr>
              <a:t>Taxes,  </a:t>
            </a:r>
            <a:r>
              <a:rPr spc="-5" dirty="0">
                <a:latin typeface="Arial"/>
                <a:cs typeface="Arial"/>
              </a:rPr>
              <a:t>Offers, </a:t>
            </a:r>
            <a:r>
              <a:rPr spc="-20" dirty="0">
                <a:latin typeface="Arial"/>
                <a:cs typeface="Arial"/>
              </a:rPr>
              <a:t>Validity  </a:t>
            </a:r>
            <a:r>
              <a:rPr dirty="0">
                <a:latin typeface="Arial"/>
                <a:cs typeface="Arial"/>
              </a:rPr>
              <a:t>periods</a:t>
            </a:r>
            <a:endParaRPr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09600" y="5867400"/>
            <a:ext cx="7848600" cy="381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09600" y="5867400"/>
            <a:ext cx="7848600" cy="381000"/>
          </a:xfrm>
          <a:custGeom>
            <a:avLst/>
            <a:gdLst/>
            <a:ahLst/>
            <a:cxnLst/>
            <a:rect l="l" t="t" r="r" b="b"/>
            <a:pathLst>
              <a:path w="7848600" h="381000">
                <a:moveTo>
                  <a:pt x="0" y="63500"/>
                </a:moveTo>
                <a:lnTo>
                  <a:pt x="4990" y="38785"/>
                </a:lnTo>
                <a:lnTo>
                  <a:pt x="18600" y="18600"/>
                </a:lnTo>
                <a:lnTo>
                  <a:pt x="38785" y="4990"/>
                </a:lnTo>
                <a:lnTo>
                  <a:pt x="63500" y="0"/>
                </a:lnTo>
                <a:lnTo>
                  <a:pt x="7785100" y="0"/>
                </a:lnTo>
                <a:lnTo>
                  <a:pt x="7809809" y="4990"/>
                </a:lnTo>
                <a:lnTo>
                  <a:pt x="7829994" y="18600"/>
                </a:lnTo>
                <a:lnTo>
                  <a:pt x="7843607" y="38785"/>
                </a:lnTo>
                <a:lnTo>
                  <a:pt x="7848600" y="63500"/>
                </a:lnTo>
                <a:lnTo>
                  <a:pt x="7848600" y="317500"/>
                </a:lnTo>
                <a:lnTo>
                  <a:pt x="7843607" y="342214"/>
                </a:lnTo>
                <a:lnTo>
                  <a:pt x="7829994" y="362399"/>
                </a:lnTo>
                <a:lnTo>
                  <a:pt x="7809809" y="376009"/>
                </a:lnTo>
                <a:lnTo>
                  <a:pt x="7785100" y="381000"/>
                </a:lnTo>
                <a:lnTo>
                  <a:pt x="63500" y="381000"/>
                </a:lnTo>
                <a:lnTo>
                  <a:pt x="38785" y="376009"/>
                </a:lnTo>
                <a:lnTo>
                  <a:pt x="18600" y="362399"/>
                </a:lnTo>
                <a:lnTo>
                  <a:pt x="4990" y="342214"/>
                </a:lnTo>
                <a:lnTo>
                  <a:pt x="0" y="317500"/>
                </a:lnTo>
                <a:lnTo>
                  <a:pt x="0" y="63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3723513" y="5898083"/>
            <a:ext cx="161798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dirty="0">
                <a:latin typeface="Times New Roman"/>
                <a:cs typeface="Times New Roman"/>
              </a:rPr>
              <a:t>Islands of</a:t>
            </a:r>
            <a:r>
              <a:rPr b="1" spc="-130" dirty="0">
                <a:latin typeface="Times New Roman"/>
                <a:cs typeface="Times New Roman"/>
              </a:rPr>
              <a:t> </a:t>
            </a:r>
            <a:r>
              <a:rPr b="1" dirty="0">
                <a:latin typeface="Times New Roman"/>
                <a:cs typeface="Times New Roman"/>
              </a:rPr>
              <a:t>data</a:t>
            </a:r>
            <a:endParaRPr>
              <a:latin typeface="Times New Roman"/>
              <a:cs typeface="Times New Roman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3048000" y="2514473"/>
            <a:ext cx="2743200" cy="181457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8519159" y="128015"/>
            <a:ext cx="624840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15900" y="290321"/>
            <a:ext cx="8663940" cy="670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Overview </a:t>
            </a:r>
            <a:r>
              <a:rPr spc="-5" dirty="0"/>
              <a:t>of </a:t>
            </a:r>
            <a:r>
              <a:rPr dirty="0"/>
              <a:t>Sales &amp;</a:t>
            </a:r>
            <a:r>
              <a:rPr spc="-65" dirty="0"/>
              <a:t> </a:t>
            </a:r>
            <a:r>
              <a:rPr dirty="0"/>
              <a:t>Distribution</a:t>
            </a:r>
          </a:p>
        </p:txBody>
      </p:sp>
      <p:sp>
        <p:nvSpPr>
          <p:cNvPr id="5" name="object 5"/>
          <p:cNvSpPr/>
          <p:nvPr/>
        </p:nvSpPr>
        <p:spPr>
          <a:xfrm>
            <a:off x="521208" y="4864608"/>
            <a:ext cx="4018788" cy="7955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09159" y="4864608"/>
            <a:ext cx="4023360" cy="7955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29283" y="3570732"/>
            <a:ext cx="3012948" cy="7955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321808" y="3570732"/>
            <a:ext cx="3017519" cy="79552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108960" y="2263139"/>
            <a:ext cx="3378708" cy="7955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21608" y="1123187"/>
            <a:ext cx="2468880" cy="56387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07340" y="5186679"/>
            <a:ext cx="4279900" cy="11592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87425">
              <a:lnSpc>
                <a:spcPct val="100000"/>
              </a:lnSpc>
            </a:pPr>
            <a:r>
              <a:rPr sz="2000" spc="-5" dirty="0">
                <a:latin typeface="Times New Roman"/>
                <a:cs typeface="Times New Roman"/>
              </a:rPr>
              <a:t>Organization</a:t>
            </a:r>
            <a:r>
              <a:rPr sz="2000" spc="-12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tructure</a:t>
            </a:r>
          </a:p>
          <a:p>
            <a:pPr marL="12700" marR="5080">
              <a:lnSpc>
                <a:spcPct val="100000"/>
              </a:lnSpc>
              <a:spcBef>
                <a:spcPts val="1585"/>
              </a:spcBef>
            </a:pP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Organizational structure is </a:t>
            </a:r>
            <a:r>
              <a:rPr sz="1400" b="1" spc="-10" dirty="0">
                <a:solidFill>
                  <a:srgbClr val="FF3399"/>
                </a:solidFill>
                <a:latin typeface="Arial"/>
                <a:cs typeface="Arial"/>
              </a:rPr>
              <a:t>the </a:t>
            </a:r>
            <a:r>
              <a:rPr sz="1400" b="1" spc="10" dirty="0">
                <a:solidFill>
                  <a:srgbClr val="FF3399"/>
                </a:solidFill>
                <a:latin typeface="Arial"/>
                <a:cs typeface="Arial"/>
              </a:rPr>
              <a:t>way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in </a:t>
            </a:r>
            <a:r>
              <a:rPr sz="1400" b="1" spc="5" dirty="0">
                <a:solidFill>
                  <a:srgbClr val="FF3399"/>
                </a:solidFill>
                <a:latin typeface="Arial"/>
                <a:cs typeface="Arial"/>
              </a:rPr>
              <a:t>which  </a:t>
            </a:r>
            <a:r>
              <a:rPr sz="1400" b="1" spc="-10" dirty="0">
                <a:solidFill>
                  <a:srgbClr val="FF3399"/>
                </a:solidFill>
                <a:latin typeface="Arial"/>
                <a:cs typeface="Arial"/>
              </a:rPr>
              <a:t>the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interrelated groups of an organization  are</a:t>
            </a:r>
            <a:r>
              <a:rPr sz="1400" b="1" spc="-95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constructed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810125" y="5186679"/>
            <a:ext cx="3857625" cy="1157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10945">
              <a:lnSpc>
                <a:spcPct val="100000"/>
              </a:lnSpc>
            </a:pPr>
            <a:r>
              <a:rPr sz="2000" spc="-5" dirty="0">
                <a:latin typeface="Times New Roman"/>
                <a:cs typeface="Times New Roman"/>
              </a:rPr>
              <a:t>Master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Data</a:t>
            </a:r>
          </a:p>
          <a:p>
            <a:pPr marL="12700" marR="5080">
              <a:lnSpc>
                <a:spcPct val="100000"/>
              </a:lnSpc>
              <a:spcBef>
                <a:spcPts val="1580"/>
              </a:spcBef>
            </a:pP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Data </a:t>
            </a:r>
            <a:r>
              <a:rPr sz="1400" b="1" spc="5" dirty="0">
                <a:solidFill>
                  <a:srgbClr val="FF3399"/>
                </a:solidFill>
                <a:latin typeface="Arial"/>
                <a:cs typeface="Arial"/>
              </a:rPr>
              <a:t>which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is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used long-term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in </a:t>
            </a:r>
            <a:r>
              <a:rPr sz="1400" b="1" spc="-15" dirty="0">
                <a:solidFill>
                  <a:srgbClr val="FF3399"/>
                </a:solidFill>
                <a:latin typeface="Arial"/>
                <a:cs typeface="Arial"/>
              </a:rPr>
              <a:t>SAP </a:t>
            </a:r>
            <a:r>
              <a:rPr sz="1400" b="1" spc="-10" dirty="0">
                <a:solidFill>
                  <a:srgbClr val="FF3399"/>
                </a:solidFill>
                <a:latin typeface="Arial"/>
                <a:cs typeface="Arial"/>
              </a:rPr>
              <a:t>System 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for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several business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processes. For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example  </a:t>
            </a:r>
            <a:r>
              <a:rPr sz="1400" b="1" spc="-5" dirty="0">
                <a:solidFill>
                  <a:srgbClr val="FF3399"/>
                </a:solidFill>
                <a:latin typeface="Arial"/>
                <a:cs typeface="Arial"/>
              </a:rPr>
              <a:t>Customers,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Materials,</a:t>
            </a:r>
            <a:r>
              <a:rPr sz="1400" b="1" spc="-135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3399"/>
                </a:solidFill>
                <a:latin typeface="Arial"/>
                <a:cs typeface="Arial"/>
              </a:rPr>
              <a:t>Price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22044" y="3891026"/>
            <a:ext cx="2691130" cy="973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7620" algn="ctr">
              <a:lnSpc>
                <a:spcPct val="100000"/>
              </a:lnSpc>
            </a:pPr>
            <a:r>
              <a:rPr sz="2000" spc="-5" dirty="0">
                <a:latin typeface="Times New Roman"/>
                <a:cs typeface="Times New Roman"/>
              </a:rPr>
              <a:t>Utilities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1335"/>
              </a:spcBef>
            </a:pPr>
            <a:r>
              <a:rPr sz="1600" b="1" spc="-10" dirty="0">
                <a:solidFill>
                  <a:srgbClr val="FF3399"/>
                </a:solidFill>
                <a:latin typeface="Arial"/>
                <a:cs typeface="Arial"/>
              </a:rPr>
              <a:t>Availability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Check,</a:t>
            </a:r>
            <a:r>
              <a:rPr sz="1600" b="1" spc="-15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Printing,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25" dirty="0">
                <a:solidFill>
                  <a:srgbClr val="FF3399"/>
                </a:solidFill>
                <a:latin typeface="Arial"/>
                <a:cs typeface="Arial"/>
              </a:rPr>
              <a:t>Taxes,</a:t>
            </a:r>
            <a:r>
              <a:rPr sz="1600" b="1" spc="-80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Credit…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84901" y="3891026"/>
            <a:ext cx="2058035" cy="973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025" algn="ctr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Standard</a:t>
            </a:r>
            <a:r>
              <a:rPr sz="2000" spc="-12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Processes</a:t>
            </a:r>
            <a:endParaRPr sz="20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1335"/>
              </a:spcBef>
            </a:pP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Opportunities,</a:t>
            </a:r>
            <a:r>
              <a:rPr sz="1600" b="1" spc="-25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Sales,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Shipping,</a:t>
            </a:r>
            <a:r>
              <a:rPr sz="1600" b="1" spc="-50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Bi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203575" y="1210817"/>
            <a:ext cx="3568065" cy="2376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5060">
              <a:lnSpc>
                <a:spcPct val="100000"/>
              </a:lnSpc>
            </a:pPr>
            <a:r>
              <a:rPr sz="2000" spc="-5" dirty="0">
                <a:latin typeface="Times New Roman"/>
                <a:cs typeface="Times New Roman"/>
              </a:rPr>
              <a:t>Integration</a:t>
            </a:r>
            <a:endParaRPr sz="2000" dirty="0">
              <a:latin typeface="Times New Roman"/>
              <a:cs typeface="Times New Roman"/>
            </a:endParaRPr>
          </a:p>
          <a:p>
            <a:pPr marL="165100" marR="5080">
              <a:lnSpc>
                <a:spcPct val="100000"/>
              </a:lnSpc>
              <a:spcBef>
                <a:spcPts val="1585"/>
              </a:spcBef>
            </a:pPr>
            <a:r>
              <a:rPr sz="1600" b="1" spc="-10" dirty="0">
                <a:solidFill>
                  <a:srgbClr val="FF3399"/>
                </a:solidFill>
                <a:latin typeface="Arial"/>
                <a:cs typeface="Arial"/>
              </a:rPr>
              <a:t>Revenue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Recognition, Manufacture  to </a:t>
            </a:r>
            <a:r>
              <a:rPr sz="1600" b="1" spc="-20" dirty="0">
                <a:solidFill>
                  <a:srgbClr val="FF3399"/>
                </a:solidFill>
                <a:latin typeface="Arial"/>
                <a:cs typeface="Arial"/>
              </a:rPr>
              <a:t>Order,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Inventory</a:t>
            </a:r>
            <a:r>
              <a:rPr sz="1600" b="1" spc="10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Management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600" dirty="0">
              <a:latin typeface="Times New Roman"/>
              <a:cs typeface="Times New Roman"/>
            </a:endParaRPr>
          </a:p>
          <a:p>
            <a:pPr marL="621030">
              <a:lnSpc>
                <a:spcPct val="100000"/>
              </a:lnSpc>
              <a:spcBef>
                <a:spcPts val="1135"/>
              </a:spcBef>
            </a:pPr>
            <a:r>
              <a:rPr sz="2000" dirty="0">
                <a:latin typeface="Times New Roman"/>
                <a:cs typeface="Times New Roman"/>
              </a:rPr>
              <a:t>Special</a:t>
            </a:r>
            <a:r>
              <a:rPr sz="2000" spc="-12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Processes</a:t>
            </a:r>
          </a:p>
          <a:p>
            <a:pPr marL="12700" marR="458470">
              <a:lnSpc>
                <a:spcPct val="100000"/>
              </a:lnSpc>
              <a:spcBef>
                <a:spcPts val="1585"/>
              </a:spcBef>
            </a:pP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Sale from stock, Consignments,  Rejections &amp;</a:t>
            </a:r>
            <a:r>
              <a:rPr sz="1600" b="1" spc="-35" dirty="0">
                <a:solidFill>
                  <a:srgbClr val="FF3399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3399"/>
                </a:solidFill>
                <a:latin typeface="Arial"/>
                <a:cs typeface="Arial"/>
              </a:rPr>
              <a:t>returns…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063996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Organization</a:t>
            </a:r>
            <a:r>
              <a:rPr spc="-60" dirty="0"/>
              <a:t> </a:t>
            </a:r>
            <a:r>
              <a:rPr dirty="0"/>
              <a:t>Structure</a:t>
            </a:r>
          </a:p>
        </p:txBody>
      </p:sp>
      <p:sp>
        <p:nvSpPr>
          <p:cNvPr id="5" name="object 5"/>
          <p:cNvSpPr/>
          <p:nvPr/>
        </p:nvSpPr>
        <p:spPr>
          <a:xfrm>
            <a:off x="3886200" y="1178052"/>
            <a:ext cx="2165604" cy="4998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643371" y="1178052"/>
            <a:ext cx="493775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86200" y="1616963"/>
            <a:ext cx="1406652" cy="4998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884420" y="1616963"/>
            <a:ext cx="493775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064634" y="1269238"/>
            <a:ext cx="1701164" cy="8147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spc="-5" dirty="0">
                <a:latin typeface="Arial"/>
                <a:cs typeface="Arial"/>
              </a:rPr>
              <a:t>Accounting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5"/>
              </a:spcBef>
            </a:pPr>
            <a:r>
              <a:rPr sz="2400" b="1" spc="-5" dirty="0">
                <a:latin typeface="Arial"/>
                <a:cs typeface="Arial"/>
              </a:rPr>
              <a:t>&amp;</a:t>
            </a:r>
            <a:r>
              <a:rPr sz="2400" b="1" spc="-90" dirty="0">
                <a:latin typeface="Arial"/>
                <a:cs typeface="Arial"/>
              </a:rPr>
              <a:t> </a:t>
            </a:r>
            <a:r>
              <a:rPr sz="2400" b="1" spc="-5" dirty="0">
                <a:latin typeface="Arial"/>
                <a:cs typeface="Arial"/>
              </a:rPr>
              <a:t>legal</a:t>
            </a:r>
            <a:endParaRPr sz="2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276600" y="2133600"/>
            <a:ext cx="2514600" cy="24384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790700" y="3863340"/>
            <a:ext cx="1897379" cy="49987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790700" y="4229100"/>
            <a:ext cx="2290572" cy="4998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72840" y="4229100"/>
            <a:ext cx="493775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968754" y="3955669"/>
            <a:ext cx="1907539" cy="741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400" b="1" spc="-5" dirty="0">
                <a:latin typeface="Arial"/>
                <a:cs typeface="Arial"/>
              </a:rPr>
              <a:t>Factory &amp;  </a:t>
            </a:r>
            <a:r>
              <a:rPr sz="2400" b="1" spc="25" dirty="0">
                <a:latin typeface="Arial"/>
                <a:cs typeface="Arial"/>
              </a:rPr>
              <a:t>w</a:t>
            </a:r>
            <a:r>
              <a:rPr sz="2400" b="1" spc="-5" dirty="0">
                <a:latin typeface="Arial"/>
                <a:cs typeface="Arial"/>
              </a:rPr>
              <a:t>areho</a:t>
            </a:r>
            <a:r>
              <a:rPr sz="2400" b="1" spc="-15" dirty="0">
                <a:latin typeface="Arial"/>
                <a:cs typeface="Arial"/>
              </a:rPr>
              <a:t>u</a:t>
            </a:r>
            <a:r>
              <a:rPr sz="2400" b="1" spc="-5" dirty="0">
                <a:latin typeface="Arial"/>
                <a:cs typeface="Arial"/>
              </a:rPr>
              <a:t>sing</a:t>
            </a:r>
            <a:endParaRPr sz="24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715000" y="3787140"/>
            <a:ext cx="1592579" cy="49987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899147" y="3787140"/>
            <a:ext cx="493775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715000" y="4226052"/>
            <a:ext cx="1677924" cy="49987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984492" y="4226052"/>
            <a:ext cx="493775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5893689" y="3806316"/>
            <a:ext cx="1295400" cy="8877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20000"/>
              </a:lnSpc>
            </a:pPr>
            <a:r>
              <a:rPr sz="2400" b="1" spc="-5" dirty="0">
                <a:latin typeface="Arial"/>
                <a:cs typeface="Arial"/>
              </a:rPr>
              <a:t>Sales &amp;  </a:t>
            </a:r>
            <a:r>
              <a:rPr sz="2400" b="1" dirty="0">
                <a:latin typeface="Arial"/>
                <a:cs typeface="Arial"/>
              </a:rPr>
              <a:t>shipping</a:t>
            </a:r>
            <a:endParaRPr sz="2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1637" y="4876800"/>
            <a:ext cx="3854450" cy="119062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 marR="149860">
              <a:lnSpc>
                <a:spcPct val="100000"/>
              </a:lnSpc>
              <a:spcBef>
                <a:spcPts val="325"/>
              </a:spcBef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monitor the </a:t>
            </a:r>
            <a:r>
              <a:rPr sz="1800" b="1" spc="-5" dirty="0">
                <a:latin typeface="Arial"/>
                <a:cs typeface="Arial"/>
              </a:rPr>
              <a:t>stock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material  </a:t>
            </a:r>
            <a:r>
              <a:rPr sz="1800" b="1" dirty="0">
                <a:latin typeface="Arial"/>
                <a:cs typeface="Arial"/>
              </a:rPr>
              <a:t>it is </a:t>
            </a:r>
            <a:r>
              <a:rPr sz="1800" b="1" spc="-5" dirty="0">
                <a:latin typeface="Arial"/>
                <a:cs typeface="Arial"/>
              </a:rPr>
              <a:t>necessary </a:t>
            </a:r>
            <a:r>
              <a:rPr sz="1800" b="1" dirty="0">
                <a:latin typeface="Arial"/>
                <a:cs typeface="Arial"/>
              </a:rPr>
              <a:t>to be </a:t>
            </a:r>
            <a:r>
              <a:rPr sz="1800" b="1" spc="-5" dirty="0">
                <a:latin typeface="Arial"/>
                <a:cs typeface="Arial"/>
              </a:rPr>
              <a:t>able </a:t>
            </a:r>
            <a:r>
              <a:rPr sz="1800" b="1" dirty="0">
                <a:latin typeface="Arial"/>
                <a:cs typeface="Arial"/>
              </a:rPr>
              <a:t>to</a:t>
            </a:r>
            <a:r>
              <a:rPr sz="1800" b="1" spc="-6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tore  </a:t>
            </a:r>
            <a:r>
              <a:rPr sz="1800" b="1" dirty="0">
                <a:latin typeface="Arial"/>
                <a:cs typeface="Arial"/>
              </a:rPr>
              <a:t>in 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dirty="0">
                <a:latin typeface="Arial"/>
                <a:cs typeface="Arial"/>
              </a:rPr>
              <a:t>the locations </a:t>
            </a:r>
            <a:r>
              <a:rPr sz="1800" b="1" spc="-5" dirty="0">
                <a:latin typeface="Arial"/>
                <a:cs typeface="Arial"/>
              </a:rPr>
              <a:t>at  </a:t>
            </a:r>
            <a:r>
              <a:rPr sz="1800" b="1" spc="5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materials are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kept.</a:t>
            </a:r>
            <a:endParaRPr sz="18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127750" y="1220850"/>
            <a:ext cx="2863850" cy="119062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075" marR="98425">
              <a:lnSpc>
                <a:spcPct val="100000"/>
              </a:lnSpc>
              <a:spcBef>
                <a:spcPts val="320"/>
              </a:spcBef>
            </a:pPr>
            <a:r>
              <a:rPr sz="1800" b="1" dirty="0">
                <a:latin typeface="Arial"/>
                <a:cs typeface="Arial"/>
              </a:rPr>
              <a:t>Independent</a:t>
            </a:r>
            <a:r>
              <a:rPr sz="1800" b="1" spc="-17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ccounting  </a:t>
            </a:r>
            <a:r>
              <a:rPr sz="1800" b="1" dirty="0">
                <a:latin typeface="Arial"/>
                <a:cs typeface="Arial"/>
              </a:rPr>
              <a:t>Units that </a:t>
            </a:r>
            <a:r>
              <a:rPr sz="1800" b="1" spc="-5" dirty="0">
                <a:latin typeface="Arial"/>
                <a:cs typeface="Arial"/>
              </a:rPr>
              <a:t>are legally  </a:t>
            </a:r>
            <a:r>
              <a:rPr sz="1800" b="1" dirty="0">
                <a:latin typeface="Arial"/>
                <a:cs typeface="Arial"/>
              </a:rPr>
              <a:t>Independent </a:t>
            </a:r>
            <a:r>
              <a:rPr sz="1800" b="1" spc="-5" dirty="0">
                <a:latin typeface="Arial"/>
                <a:cs typeface="Arial"/>
              </a:rPr>
              <a:t>from each  </a:t>
            </a:r>
            <a:r>
              <a:rPr sz="1800" b="1" spc="-20" dirty="0">
                <a:latin typeface="Arial"/>
                <a:cs typeface="Arial"/>
              </a:rPr>
              <a:t>Other.</a:t>
            </a:r>
            <a:endParaRPr sz="18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56150" y="4741926"/>
            <a:ext cx="4070350" cy="1465580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1275" rIns="0" bIns="0" rtlCol="0">
            <a:spAutoFit/>
          </a:bodyPr>
          <a:lstStyle/>
          <a:p>
            <a:pPr marL="92075" marR="899160">
              <a:lnSpc>
                <a:spcPct val="100000"/>
              </a:lnSpc>
              <a:spcBef>
                <a:spcPts val="325"/>
              </a:spcBef>
            </a:pPr>
            <a:r>
              <a:rPr sz="1800" b="1" dirty="0">
                <a:latin typeface="Arial"/>
                <a:cs typeface="Arial"/>
              </a:rPr>
              <a:t>Selling units </a:t>
            </a:r>
            <a:r>
              <a:rPr sz="1800" b="1" spc="-5" dirty="0">
                <a:latin typeface="Arial"/>
                <a:cs typeface="Arial"/>
              </a:rPr>
              <a:t>responsible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for  Sale &amp; </a:t>
            </a:r>
            <a:r>
              <a:rPr sz="1800" b="1" dirty="0">
                <a:latin typeface="Arial"/>
                <a:cs typeface="Arial"/>
              </a:rPr>
              <a:t>distribution of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goods</a:t>
            </a:r>
            <a:endParaRPr sz="1800">
              <a:latin typeface="Arial"/>
              <a:cs typeface="Arial"/>
            </a:endParaRPr>
          </a:p>
          <a:p>
            <a:pPr marL="92075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&amp; </a:t>
            </a:r>
            <a:r>
              <a:rPr sz="1800" b="1" spc="-10" dirty="0">
                <a:latin typeface="Arial"/>
                <a:cs typeface="Arial"/>
              </a:rPr>
              <a:t>services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specified</a:t>
            </a:r>
            <a:r>
              <a:rPr sz="1800" b="1" spc="-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istribution</a:t>
            </a:r>
            <a:endParaRPr sz="1800">
              <a:latin typeface="Arial"/>
              <a:cs typeface="Arial"/>
            </a:endParaRPr>
          </a:p>
          <a:p>
            <a:pPr marL="92075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Chains &amp; </a:t>
            </a:r>
            <a:r>
              <a:rPr sz="1800" b="1" dirty="0">
                <a:latin typeface="Arial"/>
                <a:cs typeface="Arial"/>
              </a:rPr>
              <a:t>collection of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produc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55709" y="1461101"/>
            <a:ext cx="3212592" cy="185443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96900" y="1094994"/>
            <a:ext cx="882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•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06804" y="1136650"/>
            <a:ext cx="7220584" cy="524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ts val="1340"/>
              </a:lnSpc>
            </a:pPr>
            <a:r>
              <a:rPr sz="1400" b="1" dirty="0">
                <a:latin typeface="Arial"/>
                <a:cs typeface="Arial"/>
              </a:rPr>
              <a:t>In </a:t>
            </a:r>
            <a:r>
              <a:rPr sz="1400" b="1" spc="-10" dirty="0">
                <a:latin typeface="Arial"/>
                <a:cs typeface="Arial"/>
              </a:rPr>
              <a:t>the SAP </a:t>
            </a:r>
            <a:r>
              <a:rPr sz="1400" b="1" dirty="0">
                <a:latin typeface="Arial"/>
                <a:cs typeface="Arial"/>
              </a:rPr>
              <a:t>R/3 </a:t>
            </a:r>
            <a:r>
              <a:rPr sz="1400" b="1" spc="-10" dirty="0">
                <a:latin typeface="Arial"/>
                <a:cs typeface="Arial"/>
              </a:rPr>
              <a:t>System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spc="-10" dirty="0">
                <a:latin typeface="Arial"/>
                <a:cs typeface="Arial"/>
              </a:rPr>
              <a:t>legal and organizational </a:t>
            </a:r>
            <a:r>
              <a:rPr sz="1400" b="1" spc="-5" dirty="0">
                <a:latin typeface="Arial"/>
                <a:cs typeface="Arial"/>
              </a:rPr>
              <a:t>structure of </a:t>
            </a:r>
            <a:r>
              <a:rPr sz="1400" b="1" spc="-15" dirty="0">
                <a:latin typeface="Arial"/>
                <a:cs typeface="Arial"/>
              </a:rPr>
              <a:t>your </a:t>
            </a:r>
            <a:r>
              <a:rPr sz="1400" b="1" spc="-5" dirty="0">
                <a:latin typeface="Arial"/>
                <a:cs typeface="Arial"/>
              </a:rPr>
              <a:t>company </a:t>
            </a:r>
            <a:r>
              <a:rPr sz="1400" b="1" spc="5" dirty="0">
                <a:latin typeface="Arial"/>
                <a:cs typeface="Arial"/>
              </a:rPr>
              <a:t>is  </a:t>
            </a:r>
            <a:r>
              <a:rPr sz="1400" b="1" spc="-5" dirty="0">
                <a:latin typeface="Arial"/>
                <a:cs typeface="Arial"/>
              </a:rPr>
              <a:t>represented. </a:t>
            </a:r>
            <a:r>
              <a:rPr sz="1400" b="1" spc="-40" dirty="0">
                <a:latin typeface="Arial"/>
                <a:cs typeface="Arial"/>
              </a:rPr>
              <a:t>You </a:t>
            </a:r>
            <a:r>
              <a:rPr sz="1400" b="1" spc="-5" dirty="0">
                <a:latin typeface="Arial"/>
                <a:cs typeface="Arial"/>
              </a:rPr>
              <a:t>can </a:t>
            </a:r>
            <a:r>
              <a:rPr sz="1400" b="1" spc="-10" dirty="0">
                <a:latin typeface="Arial"/>
                <a:cs typeface="Arial"/>
              </a:rPr>
              <a:t>also </a:t>
            </a:r>
            <a:r>
              <a:rPr sz="1400" b="1" spc="-5" dirty="0">
                <a:latin typeface="Arial"/>
                <a:cs typeface="Arial"/>
              </a:rPr>
              <a:t>structure from the </a:t>
            </a:r>
            <a:r>
              <a:rPr sz="1400" b="1" spc="-10" dirty="0">
                <a:latin typeface="Arial"/>
                <a:cs typeface="Arial"/>
              </a:rPr>
              <a:t>point </a:t>
            </a:r>
            <a:r>
              <a:rPr sz="1400" b="1" spc="-5" dirty="0">
                <a:latin typeface="Arial"/>
                <a:cs typeface="Arial"/>
              </a:rPr>
              <a:t>of </a:t>
            </a:r>
            <a:r>
              <a:rPr sz="1400" b="1" spc="-15" dirty="0">
                <a:latin typeface="Arial"/>
                <a:cs typeface="Arial"/>
              </a:rPr>
              <a:t>view </a:t>
            </a:r>
            <a:r>
              <a:rPr sz="1400" b="1" spc="-10" dirty="0">
                <a:latin typeface="Arial"/>
                <a:cs typeface="Arial"/>
              </a:rPr>
              <a:t>of accounting,  </a:t>
            </a:r>
            <a:r>
              <a:rPr sz="1400" b="1" spc="-5" dirty="0">
                <a:latin typeface="Arial"/>
                <a:cs typeface="Arial"/>
              </a:rPr>
              <a:t>manufacturing </a:t>
            </a:r>
            <a:r>
              <a:rPr sz="1400" b="1" dirty="0">
                <a:latin typeface="Arial"/>
                <a:cs typeface="Arial"/>
              </a:rPr>
              <a:t>&amp; </a:t>
            </a:r>
            <a:r>
              <a:rPr sz="1400" b="1" spc="-5" dirty="0">
                <a:latin typeface="Arial"/>
                <a:cs typeface="Arial"/>
              </a:rPr>
              <a:t>inventory </a:t>
            </a:r>
            <a:r>
              <a:rPr sz="1400" b="1" dirty="0">
                <a:latin typeface="Arial"/>
                <a:cs typeface="Arial"/>
              </a:rPr>
              <a:t>, </a:t>
            </a:r>
            <a:r>
              <a:rPr sz="1400" b="1" spc="-5" dirty="0">
                <a:latin typeface="Arial"/>
                <a:cs typeface="Arial"/>
              </a:rPr>
              <a:t>and </a:t>
            </a:r>
            <a:r>
              <a:rPr sz="1400" b="1" dirty="0">
                <a:latin typeface="Arial"/>
                <a:cs typeface="Arial"/>
              </a:rPr>
              <a:t>sales </a:t>
            </a:r>
            <a:r>
              <a:rPr sz="1400" b="1" spc="-5" dirty="0">
                <a:latin typeface="Arial"/>
                <a:cs typeface="Arial"/>
              </a:rPr>
              <a:t>and</a:t>
            </a:r>
            <a:r>
              <a:rPr sz="1400" b="1" spc="-9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istribution.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96900" y="5704535"/>
            <a:ext cx="882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•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06804" y="5747207"/>
            <a:ext cx="7217409" cy="352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000"/>
              </a:lnSpc>
            </a:pPr>
            <a:r>
              <a:rPr sz="1400" b="1" spc="-15" dirty="0">
                <a:latin typeface="Arial"/>
                <a:cs typeface="Arial"/>
              </a:rPr>
              <a:t>An </a:t>
            </a:r>
            <a:r>
              <a:rPr sz="1400" b="1" spc="-5" dirty="0">
                <a:latin typeface="Arial"/>
                <a:cs typeface="Arial"/>
              </a:rPr>
              <a:t>enterprise structure is </a:t>
            </a:r>
            <a:r>
              <a:rPr sz="1400" b="1" spc="-10" dirty="0">
                <a:latin typeface="Arial"/>
                <a:cs typeface="Arial"/>
              </a:rPr>
              <a:t>mapped </a:t>
            </a:r>
            <a:r>
              <a:rPr sz="1400" b="1" dirty="0">
                <a:latin typeface="Arial"/>
                <a:cs typeface="Arial"/>
              </a:rPr>
              <a:t>to </a:t>
            </a:r>
            <a:r>
              <a:rPr sz="1400" b="1" spc="-15" dirty="0">
                <a:latin typeface="Arial"/>
                <a:cs typeface="Arial"/>
              </a:rPr>
              <a:t>SAP </a:t>
            </a:r>
            <a:r>
              <a:rPr sz="1400" b="1" spc="-5" dirty="0">
                <a:latin typeface="Arial"/>
                <a:cs typeface="Arial"/>
              </a:rPr>
              <a:t>applications using </a:t>
            </a:r>
            <a:r>
              <a:rPr sz="1400" b="1" spc="-10" dirty="0">
                <a:latin typeface="Arial"/>
                <a:cs typeface="Arial"/>
              </a:rPr>
              <a:t>organizational units.  </a:t>
            </a:r>
            <a:r>
              <a:rPr sz="1400" b="1" spc="-5" dirty="0">
                <a:latin typeface="Arial"/>
                <a:cs typeface="Arial"/>
              </a:rPr>
              <a:t>Organizational units handle </a:t>
            </a:r>
            <a:r>
              <a:rPr sz="1400" b="1" dirty="0">
                <a:latin typeface="Arial"/>
                <a:cs typeface="Arial"/>
              </a:rPr>
              <a:t>specific </a:t>
            </a:r>
            <a:r>
              <a:rPr sz="1400" b="1" spc="-5" dirty="0">
                <a:latin typeface="Arial"/>
                <a:cs typeface="Arial"/>
              </a:rPr>
              <a:t>business</a:t>
            </a:r>
            <a:r>
              <a:rPr sz="1400" b="1" spc="-15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function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063996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Organization</a:t>
            </a:r>
            <a:r>
              <a:rPr spc="-60" dirty="0"/>
              <a:t> </a:t>
            </a:r>
            <a:r>
              <a:rPr dirty="0"/>
              <a:t>Structure</a:t>
            </a:r>
          </a:p>
        </p:txBody>
      </p:sp>
      <p:sp>
        <p:nvSpPr>
          <p:cNvPr id="9" name="object 9"/>
          <p:cNvSpPr/>
          <p:nvPr/>
        </p:nvSpPr>
        <p:spPr>
          <a:xfrm>
            <a:off x="1282700" y="1822450"/>
            <a:ext cx="5880100" cy="3665854"/>
          </a:xfrm>
          <a:custGeom>
            <a:avLst/>
            <a:gdLst/>
            <a:ahLst/>
            <a:cxnLst/>
            <a:rect l="l" t="t" r="r" b="b"/>
            <a:pathLst>
              <a:path w="5880100" h="3665854">
                <a:moveTo>
                  <a:pt x="0" y="3665601"/>
                </a:moveTo>
                <a:lnTo>
                  <a:pt x="5880100" y="3665601"/>
                </a:lnTo>
                <a:lnTo>
                  <a:pt x="5880100" y="0"/>
                </a:lnTo>
                <a:lnTo>
                  <a:pt x="0" y="0"/>
                </a:lnTo>
                <a:lnTo>
                  <a:pt x="0" y="3665601"/>
                </a:lnTo>
                <a:close/>
              </a:path>
            </a:pathLst>
          </a:custGeom>
          <a:solidFill>
            <a:srgbClr val="C7CCE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282700" y="1822450"/>
            <a:ext cx="5880100" cy="3665854"/>
          </a:xfrm>
          <a:custGeom>
            <a:avLst/>
            <a:gdLst/>
            <a:ahLst/>
            <a:cxnLst/>
            <a:rect l="l" t="t" r="r" b="b"/>
            <a:pathLst>
              <a:path w="5880100" h="3665854">
                <a:moveTo>
                  <a:pt x="0" y="3665601"/>
                </a:moveTo>
                <a:lnTo>
                  <a:pt x="5880100" y="3665601"/>
                </a:lnTo>
                <a:lnTo>
                  <a:pt x="5880100" y="0"/>
                </a:lnTo>
                <a:lnTo>
                  <a:pt x="0" y="0"/>
                </a:lnTo>
                <a:lnTo>
                  <a:pt x="0" y="3665601"/>
                </a:lnTo>
                <a:close/>
              </a:path>
            </a:pathLst>
          </a:custGeom>
          <a:ln w="28575">
            <a:solidFill>
              <a:srgbClr val="FF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360550" y="1898650"/>
            <a:ext cx="5878830" cy="3663950"/>
          </a:xfrm>
          <a:custGeom>
            <a:avLst/>
            <a:gdLst/>
            <a:ahLst/>
            <a:cxnLst/>
            <a:rect l="l" t="t" r="r" b="b"/>
            <a:pathLst>
              <a:path w="5878830" h="3663950">
                <a:moveTo>
                  <a:pt x="0" y="3663950"/>
                </a:moveTo>
                <a:lnTo>
                  <a:pt x="5878449" y="3663950"/>
                </a:lnTo>
                <a:lnTo>
                  <a:pt x="5878449" y="0"/>
                </a:lnTo>
                <a:lnTo>
                  <a:pt x="0" y="0"/>
                </a:lnTo>
                <a:lnTo>
                  <a:pt x="0" y="3663950"/>
                </a:lnTo>
                <a:close/>
              </a:path>
            </a:pathLst>
          </a:custGeom>
          <a:solidFill>
            <a:srgbClr val="61667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322450" y="1860495"/>
            <a:ext cx="5878449" cy="560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322450" y="1916598"/>
            <a:ext cx="5878449" cy="5901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322450" y="1975581"/>
            <a:ext cx="5878449" cy="5679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322450" y="2032477"/>
            <a:ext cx="5878449" cy="567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322450" y="2089222"/>
            <a:ext cx="5878449" cy="5606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322450" y="2145325"/>
            <a:ext cx="5878449" cy="5901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322450" y="2204308"/>
            <a:ext cx="5878449" cy="5679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322450" y="2261077"/>
            <a:ext cx="5878449" cy="5679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322450" y="2317918"/>
            <a:ext cx="5878449" cy="5901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322450" y="2376877"/>
            <a:ext cx="5878449" cy="5606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322450" y="2433035"/>
            <a:ext cx="5878449" cy="5679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322450" y="2489804"/>
            <a:ext cx="5878449" cy="5679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322450" y="2546518"/>
            <a:ext cx="5878449" cy="5901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322450" y="2605604"/>
            <a:ext cx="5878449" cy="5606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322450" y="2661635"/>
            <a:ext cx="5878449" cy="5679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322450" y="2718404"/>
            <a:ext cx="5878449" cy="5679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322450" y="2775245"/>
            <a:ext cx="5878449" cy="5901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322450" y="2834204"/>
            <a:ext cx="5878449" cy="5606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322450" y="2890362"/>
            <a:ext cx="5878449" cy="56799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322450" y="2947076"/>
            <a:ext cx="5878449" cy="5901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322450" y="3006186"/>
            <a:ext cx="5878449" cy="56799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322450" y="3062931"/>
            <a:ext cx="5878449" cy="56061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322450" y="3118962"/>
            <a:ext cx="5878449" cy="5679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322450" y="3175803"/>
            <a:ext cx="5878449" cy="5901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322450" y="3234786"/>
            <a:ext cx="5878449" cy="56799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322450" y="3291555"/>
            <a:ext cx="5878449" cy="56799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322450" y="3348372"/>
            <a:ext cx="5878449" cy="58275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322450" y="3406744"/>
            <a:ext cx="5878449" cy="56799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322450" y="3463513"/>
            <a:ext cx="5878449" cy="56799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322450" y="3520282"/>
            <a:ext cx="5878449" cy="56799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322450" y="3577099"/>
            <a:ext cx="5878449" cy="5827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322450" y="3635344"/>
            <a:ext cx="5878449" cy="56799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322450" y="3692113"/>
            <a:ext cx="5878449" cy="56799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322450" y="3748954"/>
            <a:ext cx="5878449" cy="59013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322450" y="3807937"/>
            <a:ext cx="5878449" cy="56799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322450" y="3864809"/>
            <a:ext cx="5878449" cy="56061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322450" y="3920840"/>
            <a:ext cx="5878449" cy="56799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322450" y="3977682"/>
            <a:ext cx="5878449" cy="59013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322450" y="4036664"/>
            <a:ext cx="5878449" cy="56799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322450" y="4093409"/>
            <a:ext cx="5878449" cy="56061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322450" y="4149512"/>
            <a:ext cx="5878449" cy="59013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322450" y="4208495"/>
            <a:ext cx="5878449" cy="56799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322450" y="4265264"/>
            <a:ext cx="5878449" cy="56799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322450" y="4322136"/>
            <a:ext cx="5878449" cy="56061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322450" y="4378239"/>
            <a:ext cx="5878449" cy="59013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322450" y="4437222"/>
            <a:ext cx="5878449" cy="56799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322450" y="4493991"/>
            <a:ext cx="5878449" cy="56799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322450" y="4550736"/>
            <a:ext cx="5878449" cy="56061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322450" y="4606839"/>
            <a:ext cx="5878449" cy="59013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322450" y="4665822"/>
            <a:ext cx="5878449" cy="56799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322450" y="4722718"/>
            <a:ext cx="5878449" cy="56799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322450" y="4779433"/>
            <a:ext cx="5878449" cy="59013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322450" y="4838518"/>
            <a:ext cx="5878449" cy="56061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322450" y="4894549"/>
            <a:ext cx="5878449" cy="56799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322450" y="4951318"/>
            <a:ext cx="5878449" cy="56799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322450" y="5008159"/>
            <a:ext cx="5878449" cy="59013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322450" y="5067118"/>
            <a:ext cx="5878449" cy="56061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322450" y="5123276"/>
            <a:ext cx="5878449" cy="56799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322450" y="5179990"/>
            <a:ext cx="5878449" cy="59013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322450" y="5238973"/>
            <a:ext cx="5878449" cy="56799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322450" y="5295845"/>
            <a:ext cx="5878449" cy="56061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322450" y="5351876"/>
            <a:ext cx="5878449" cy="56799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322450" y="5408717"/>
            <a:ext cx="5878449" cy="59013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322450" y="5467700"/>
            <a:ext cx="5878449" cy="56799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700276" y="2346337"/>
            <a:ext cx="1336548" cy="727062"/>
          </a:xfrm>
          <a:prstGeom prst="rect">
            <a:avLst/>
          </a:prstGeom>
          <a:blipFill>
            <a:blip r:embed="rId6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1738629" y="3358896"/>
            <a:ext cx="93281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or</a:t>
            </a:r>
            <a:r>
              <a:rPr sz="1200" b="1" spc="-5" dirty="0">
                <a:latin typeface="Arial"/>
                <a:cs typeface="Arial"/>
              </a:rPr>
              <a:t>g</a:t>
            </a:r>
            <a:r>
              <a:rPr sz="1200" b="1" dirty="0">
                <a:latin typeface="Arial"/>
                <a:cs typeface="Arial"/>
              </a:rPr>
              <a:t>aniza</a:t>
            </a:r>
            <a:r>
              <a:rPr sz="1200" b="1" spc="-5" dirty="0">
                <a:latin typeface="Arial"/>
                <a:cs typeface="Arial"/>
              </a:rPr>
              <a:t>t</a:t>
            </a:r>
            <a:r>
              <a:rPr sz="1200" b="1" dirty="0">
                <a:latin typeface="Arial"/>
                <a:cs typeface="Arial"/>
              </a:rPr>
              <a:t>i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1738629" y="2785236"/>
            <a:ext cx="2996565" cy="584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8520" marR="508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Dis</a:t>
            </a:r>
            <a:r>
              <a:rPr sz="1200" b="1" dirty="0">
                <a:latin typeface="Arial"/>
                <a:cs typeface="Arial"/>
              </a:rPr>
              <a:t>tribu</a:t>
            </a:r>
            <a:r>
              <a:rPr sz="1200" b="1" spc="-10" dirty="0">
                <a:latin typeface="Arial"/>
                <a:cs typeface="Arial"/>
              </a:rPr>
              <a:t>t</a:t>
            </a:r>
            <a:r>
              <a:rPr sz="1200" b="1" dirty="0">
                <a:latin typeface="Arial"/>
                <a:cs typeface="Arial"/>
              </a:rPr>
              <a:t>ion  Channel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95"/>
              </a:spcBef>
            </a:pPr>
            <a:r>
              <a:rPr sz="1200" b="1" dirty="0">
                <a:latin typeface="Arial"/>
                <a:cs typeface="Arial"/>
              </a:rPr>
              <a:t>Sal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3565525" y="1990750"/>
            <a:ext cx="1539875" cy="752449"/>
          </a:xfrm>
          <a:prstGeom prst="rect">
            <a:avLst/>
          </a:prstGeom>
          <a:blipFill>
            <a:blip r:embed="rId6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437251" y="2414600"/>
            <a:ext cx="1344549" cy="709599"/>
          </a:xfrm>
          <a:prstGeom prst="rect">
            <a:avLst/>
          </a:prstGeom>
          <a:blipFill>
            <a:blip r:embed="rId6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756914" y="3439540"/>
            <a:ext cx="1234440" cy="890269"/>
          </a:xfrm>
          <a:custGeom>
            <a:avLst/>
            <a:gdLst/>
            <a:ahLst/>
            <a:cxnLst/>
            <a:rect l="l" t="t" r="r" b="b"/>
            <a:pathLst>
              <a:path w="1234439" h="890270">
                <a:moveTo>
                  <a:pt x="616203" y="0"/>
                </a:moveTo>
                <a:lnTo>
                  <a:pt x="0" y="889889"/>
                </a:lnTo>
                <a:lnTo>
                  <a:pt x="1234186" y="889889"/>
                </a:lnTo>
                <a:lnTo>
                  <a:pt x="616203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756914" y="3439540"/>
            <a:ext cx="1234440" cy="890269"/>
          </a:xfrm>
          <a:custGeom>
            <a:avLst/>
            <a:gdLst/>
            <a:ahLst/>
            <a:cxnLst/>
            <a:rect l="l" t="t" r="r" b="b"/>
            <a:pathLst>
              <a:path w="1234439" h="890270">
                <a:moveTo>
                  <a:pt x="616203" y="0"/>
                </a:moveTo>
                <a:lnTo>
                  <a:pt x="0" y="889889"/>
                </a:lnTo>
                <a:lnTo>
                  <a:pt x="1234186" y="889889"/>
                </a:lnTo>
                <a:lnTo>
                  <a:pt x="616203" y="0"/>
                </a:lnTo>
                <a:close/>
              </a:path>
            </a:pathLst>
          </a:custGeom>
          <a:ln w="762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74363" y="3777221"/>
            <a:ext cx="403225" cy="154940"/>
          </a:xfrm>
          <a:custGeom>
            <a:avLst/>
            <a:gdLst/>
            <a:ahLst/>
            <a:cxnLst/>
            <a:rect l="l" t="t" r="r" b="b"/>
            <a:pathLst>
              <a:path w="403225" h="154939">
                <a:moveTo>
                  <a:pt x="0" y="154825"/>
                </a:moveTo>
                <a:lnTo>
                  <a:pt x="402818" y="154825"/>
                </a:lnTo>
                <a:lnTo>
                  <a:pt x="402818" y="0"/>
                </a:lnTo>
                <a:lnTo>
                  <a:pt x="0" y="0"/>
                </a:lnTo>
                <a:lnTo>
                  <a:pt x="0" y="154825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174363" y="3777221"/>
            <a:ext cx="403225" cy="154940"/>
          </a:xfrm>
          <a:custGeom>
            <a:avLst/>
            <a:gdLst/>
            <a:ahLst/>
            <a:cxnLst/>
            <a:rect l="l" t="t" r="r" b="b"/>
            <a:pathLst>
              <a:path w="403225" h="154939">
                <a:moveTo>
                  <a:pt x="0" y="154825"/>
                </a:moveTo>
                <a:lnTo>
                  <a:pt x="402818" y="154825"/>
                </a:lnTo>
                <a:lnTo>
                  <a:pt x="402818" y="0"/>
                </a:lnTo>
                <a:lnTo>
                  <a:pt x="0" y="0"/>
                </a:lnTo>
                <a:lnTo>
                  <a:pt x="0" y="154825"/>
                </a:lnTo>
                <a:close/>
              </a:path>
            </a:pathLst>
          </a:custGeom>
          <a:ln w="7619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170934" y="3957129"/>
            <a:ext cx="406400" cy="157480"/>
          </a:xfrm>
          <a:custGeom>
            <a:avLst/>
            <a:gdLst/>
            <a:ahLst/>
            <a:cxnLst/>
            <a:rect l="l" t="t" r="r" b="b"/>
            <a:pathLst>
              <a:path w="406400" h="157479">
                <a:moveTo>
                  <a:pt x="0" y="157035"/>
                </a:moveTo>
                <a:lnTo>
                  <a:pt x="406247" y="157035"/>
                </a:lnTo>
                <a:lnTo>
                  <a:pt x="406247" y="0"/>
                </a:lnTo>
                <a:lnTo>
                  <a:pt x="0" y="0"/>
                </a:lnTo>
                <a:lnTo>
                  <a:pt x="0" y="157035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170934" y="3957129"/>
            <a:ext cx="406400" cy="157480"/>
          </a:xfrm>
          <a:custGeom>
            <a:avLst/>
            <a:gdLst/>
            <a:ahLst/>
            <a:cxnLst/>
            <a:rect l="l" t="t" r="r" b="b"/>
            <a:pathLst>
              <a:path w="406400" h="157479">
                <a:moveTo>
                  <a:pt x="0" y="157035"/>
                </a:moveTo>
                <a:lnTo>
                  <a:pt x="406247" y="157035"/>
                </a:lnTo>
                <a:lnTo>
                  <a:pt x="406247" y="0"/>
                </a:lnTo>
                <a:lnTo>
                  <a:pt x="0" y="0"/>
                </a:lnTo>
                <a:lnTo>
                  <a:pt x="0" y="157035"/>
                </a:lnTo>
                <a:close/>
              </a:path>
            </a:pathLst>
          </a:custGeom>
          <a:ln w="762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170934" y="4142879"/>
            <a:ext cx="406400" cy="155575"/>
          </a:xfrm>
          <a:custGeom>
            <a:avLst/>
            <a:gdLst/>
            <a:ahLst/>
            <a:cxnLst/>
            <a:rect l="l" t="t" r="r" b="b"/>
            <a:pathLst>
              <a:path w="406400" h="155575">
                <a:moveTo>
                  <a:pt x="0" y="155562"/>
                </a:moveTo>
                <a:lnTo>
                  <a:pt x="406247" y="155562"/>
                </a:lnTo>
                <a:lnTo>
                  <a:pt x="406247" y="0"/>
                </a:lnTo>
                <a:lnTo>
                  <a:pt x="0" y="0"/>
                </a:lnTo>
                <a:lnTo>
                  <a:pt x="0" y="155562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170934" y="4142879"/>
            <a:ext cx="406400" cy="155575"/>
          </a:xfrm>
          <a:custGeom>
            <a:avLst/>
            <a:gdLst/>
            <a:ahLst/>
            <a:cxnLst/>
            <a:rect l="l" t="t" r="r" b="b"/>
            <a:pathLst>
              <a:path w="406400" h="155575">
                <a:moveTo>
                  <a:pt x="0" y="155562"/>
                </a:moveTo>
                <a:lnTo>
                  <a:pt x="406247" y="155562"/>
                </a:lnTo>
                <a:lnTo>
                  <a:pt x="406247" y="0"/>
                </a:lnTo>
                <a:lnTo>
                  <a:pt x="0" y="0"/>
                </a:lnTo>
                <a:lnTo>
                  <a:pt x="0" y="155562"/>
                </a:lnTo>
                <a:close/>
              </a:path>
            </a:pathLst>
          </a:custGeom>
          <a:ln w="7619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733800" y="3421126"/>
            <a:ext cx="1234440" cy="890269"/>
          </a:xfrm>
          <a:custGeom>
            <a:avLst/>
            <a:gdLst/>
            <a:ahLst/>
            <a:cxnLst/>
            <a:rect l="l" t="t" r="r" b="b"/>
            <a:pathLst>
              <a:path w="1234439" h="890270">
                <a:moveTo>
                  <a:pt x="616203" y="0"/>
                </a:moveTo>
                <a:lnTo>
                  <a:pt x="0" y="889888"/>
                </a:lnTo>
                <a:lnTo>
                  <a:pt x="1234186" y="889888"/>
                </a:lnTo>
                <a:lnTo>
                  <a:pt x="616203" y="0"/>
                </a:lnTo>
                <a:close/>
              </a:path>
            </a:pathLst>
          </a:custGeom>
          <a:solidFill>
            <a:srgbClr val="A3AAC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733800" y="3421126"/>
            <a:ext cx="1234440" cy="890269"/>
          </a:xfrm>
          <a:custGeom>
            <a:avLst/>
            <a:gdLst/>
            <a:ahLst/>
            <a:cxnLst/>
            <a:rect l="l" t="t" r="r" b="b"/>
            <a:pathLst>
              <a:path w="1234439" h="890270">
                <a:moveTo>
                  <a:pt x="616203" y="0"/>
                </a:moveTo>
                <a:lnTo>
                  <a:pt x="0" y="889888"/>
                </a:lnTo>
                <a:lnTo>
                  <a:pt x="1234186" y="889888"/>
                </a:lnTo>
                <a:lnTo>
                  <a:pt x="616203" y="0"/>
                </a:lnTo>
                <a:close/>
              </a:path>
            </a:pathLst>
          </a:custGeom>
          <a:ln w="76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151248" y="3758679"/>
            <a:ext cx="403225" cy="154940"/>
          </a:xfrm>
          <a:custGeom>
            <a:avLst/>
            <a:gdLst/>
            <a:ahLst/>
            <a:cxnLst/>
            <a:rect l="l" t="t" r="r" b="b"/>
            <a:pathLst>
              <a:path w="403225" h="154939">
                <a:moveTo>
                  <a:pt x="0" y="154825"/>
                </a:moveTo>
                <a:lnTo>
                  <a:pt x="402818" y="154825"/>
                </a:lnTo>
                <a:lnTo>
                  <a:pt x="402818" y="0"/>
                </a:lnTo>
                <a:lnTo>
                  <a:pt x="0" y="0"/>
                </a:lnTo>
                <a:lnTo>
                  <a:pt x="0" y="15482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151248" y="3758679"/>
            <a:ext cx="403225" cy="154940"/>
          </a:xfrm>
          <a:custGeom>
            <a:avLst/>
            <a:gdLst/>
            <a:ahLst/>
            <a:cxnLst/>
            <a:rect l="l" t="t" r="r" b="b"/>
            <a:pathLst>
              <a:path w="403225" h="154939">
                <a:moveTo>
                  <a:pt x="0" y="154825"/>
                </a:moveTo>
                <a:lnTo>
                  <a:pt x="402818" y="154825"/>
                </a:lnTo>
                <a:lnTo>
                  <a:pt x="402818" y="0"/>
                </a:lnTo>
                <a:lnTo>
                  <a:pt x="0" y="0"/>
                </a:lnTo>
                <a:lnTo>
                  <a:pt x="0" y="154825"/>
                </a:lnTo>
                <a:close/>
              </a:path>
            </a:pathLst>
          </a:custGeom>
          <a:ln w="761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147820" y="3938587"/>
            <a:ext cx="406400" cy="157480"/>
          </a:xfrm>
          <a:custGeom>
            <a:avLst/>
            <a:gdLst/>
            <a:ahLst/>
            <a:cxnLst/>
            <a:rect l="l" t="t" r="r" b="b"/>
            <a:pathLst>
              <a:path w="406400" h="157479">
                <a:moveTo>
                  <a:pt x="0" y="157035"/>
                </a:moveTo>
                <a:lnTo>
                  <a:pt x="406247" y="157035"/>
                </a:lnTo>
                <a:lnTo>
                  <a:pt x="406247" y="0"/>
                </a:lnTo>
                <a:lnTo>
                  <a:pt x="0" y="0"/>
                </a:lnTo>
                <a:lnTo>
                  <a:pt x="0" y="15703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47820" y="3938587"/>
            <a:ext cx="406400" cy="157480"/>
          </a:xfrm>
          <a:custGeom>
            <a:avLst/>
            <a:gdLst/>
            <a:ahLst/>
            <a:cxnLst/>
            <a:rect l="l" t="t" r="r" b="b"/>
            <a:pathLst>
              <a:path w="406400" h="157479">
                <a:moveTo>
                  <a:pt x="0" y="157035"/>
                </a:moveTo>
                <a:lnTo>
                  <a:pt x="406247" y="157035"/>
                </a:lnTo>
                <a:lnTo>
                  <a:pt x="406247" y="0"/>
                </a:lnTo>
                <a:lnTo>
                  <a:pt x="0" y="0"/>
                </a:lnTo>
                <a:lnTo>
                  <a:pt x="0" y="157035"/>
                </a:lnTo>
                <a:close/>
              </a:path>
            </a:pathLst>
          </a:custGeom>
          <a:ln w="76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47820" y="4124464"/>
            <a:ext cx="406400" cy="155575"/>
          </a:xfrm>
          <a:custGeom>
            <a:avLst/>
            <a:gdLst/>
            <a:ahLst/>
            <a:cxnLst/>
            <a:rect l="l" t="t" r="r" b="b"/>
            <a:pathLst>
              <a:path w="406400" h="155575">
                <a:moveTo>
                  <a:pt x="0" y="155562"/>
                </a:moveTo>
                <a:lnTo>
                  <a:pt x="406247" y="155562"/>
                </a:lnTo>
                <a:lnTo>
                  <a:pt x="406247" y="0"/>
                </a:lnTo>
                <a:lnTo>
                  <a:pt x="0" y="0"/>
                </a:lnTo>
                <a:lnTo>
                  <a:pt x="0" y="155562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147820" y="4124464"/>
            <a:ext cx="406400" cy="155575"/>
          </a:xfrm>
          <a:custGeom>
            <a:avLst/>
            <a:gdLst/>
            <a:ahLst/>
            <a:cxnLst/>
            <a:rect l="l" t="t" r="r" b="b"/>
            <a:pathLst>
              <a:path w="406400" h="155575">
                <a:moveTo>
                  <a:pt x="0" y="155562"/>
                </a:moveTo>
                <a:lnTo>
                  <a:pt x="406247" y="155562"/>
                </a:lnTo>
                <a:lnTo>
                  <a:pt x="406247" y="0"/>
                </a:lnTo>
                <a:lnTo>
                  <a:pt x="0" y="0"/>
                </a:lnTo>
                <a:lnTo>
                  <a:pt x="0" y="155562"/>
                </a:lnTo>
                <a:close/>
              </a:path>
            </a:pathLst>
          </a:custGeom>
          <a:ln w="761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752600" y="4162412"/>
            <a:ext cx="1273162" cy="714387"/>
          </a:xfrm>
          <a:prstGeom prst="rect">
            <a:avLst/>
          </a:prstGeom>
          <a:blipFill>
            <a:blip r:embed="rId7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6007989" y="5101716"/>
            <a:ext cx="922019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Sales</a:t>
            </a:r>
            <a:r>
              <a:rPr sz="1200" b="1" spc="-1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Group</a:t>
            </a:r>
            <a:endParaRPr sz="1200">
              <a:latin typeface="Arial"/>
              <a:cs typeface="Arial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5441950" y="4125938"/>
            <a:ext cx="1339850" cy="750862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 txBox="1"/>
          <p:nvPr/>
        </p:nvSpPr>
        <p:spPr>
          <a:xfrm>
            <a:off x="2121154" y="5101716"/>
            <a:ext cx="896619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Sales</a:t>
            </a:r>
            <a:r>
              <a:rPr sz="1200" b="1" spc="-12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Offic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3950334" y="3759454"/>
            <a:ext cx="793115" cy="9271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78105" algn="ctr">
              <a:lnSpc>
                <a:spcPct val="100000"/>
              </a:lnSpc>
            </a:pPr>
            <a:r>
              <a:rPr sz="900" b="1" spc="-5" dirty="0">
                <a:latin typeface="Arial"/>
                <a:cs typeface="Arial"/>
              </a:rPr>
              <a:t>0001</a:t>
            </a:r>
            <a:endParaRPr sz="900">
              <a:latin typeface="Arial"/>
              <a:cs typeface="Arial"/>
            </a:endParaRPr>
          </a:p>
          <a:p>
            <a:pPr marR="34925" algn="ctr">
              <a:lnSpc>
                <a:spcPct val="100000"/>
              </a:lnSpc>
              <a:spcBef>
                <a:spcPts val="345"/>
              </a:spcBef>
            </a:pPr>
            <a:r>
              <a:rPr sz="900" b="1" spc="-5" dirty="0">
                <a:latin typeface="Arial"/>
                <a:cs typeface="Arial"/>
              </a:rPr>
              <a:t>01</a:t>
            </a:r>
            <a:endParaRPr sz="900">
              <a:latin typeface="Arial"/>
              <a:cs typeface="Arial"/>
            </a:endParaRPr>
          </a:p>
          <a:p>
            <a:pPr marR="34925" algn="ctr">
              <a:lnSpc>
                <a:spcPct val="100000"/>
              </a:lnSpc>
              <a:spcBef>
                <a:spcPts val="365"/>
              </a:spcBef>
            </a:pPr>
            <a:r>
              <a:rPr sz="900" b="1" spc="-5" dirty="0">
                <a:latin typeface="Arial"/>
                <a:cs typeface="Arial"/>
              </a:rPr>
              <a:t>01</a:t>
            </a:r>
            <a:endParaRPr sz="9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9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780"/>
              </a:spcBef>
            </a:pPr>
            <a:r>
              <a:rPr sz="1200" b="1" dirty="0">
                <a:latin typeface="Arial"/>
                <a:cs typeface="Arial"/>
              </a:rPr>
              <a:t>Sales</a:t>
            </a:r>
            <a:r>
              <a:rPr sz="1200" b="1" spc="-155" dirty="0">
                <a:latin typeface="Arial"/>
                <a:cs typeface="Arial"/>
              </a:rPr>
              <a:t> </a:t>
            </a:r>
            <a:r>
              <a:rPr sz="1200" b="1" spc="-15" dirty="0">
                <a:latin typeface="Arial"/>
                <a:cs typeface="Arial"/>
              </a:rPr>
              <a:t>Are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5855589" y="3348863"/>
            <a:ext cx="61658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Di</a:t>
            </a:r>
            <a:r>
              <a:rPr sz="1200" b="1" spc="-25" dirty="0">
                <a:latin typeface="Arial"/>
                <a:cs typeface="Arial"/>
              </a:rPr>
              <a:t>v</a:t>
            </a:r>
            <a:r>
              <a:rPr sz="1200" b="1" dirty="0">
                <a:latin typeface="Arial"/>
                <a:cs typeface="Arial"/>
              </a:rPr>
              <a:t>ision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174492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Master</a:t>
            </a:r>
            <a:r>
              <a:rPr spc="-95" dirty="0"/>
              <a:t> </a:t>
            </a:r>
            <a:r>
              <a:rPr dirty="0"/>
              <a:t>Data</a:t>
            </a:r>
          </a:p>
        </p:txBody>
      </p:sp>
      <p:sp>
        <p:nvSpPr>
          <p:cNvPr id="5" name="object 5"/>
          <p:cNvSpPr/>
          <p:nvPr/>
        </p:nvSpPr>
        <p:spPr>
          <a:xfrm>
            <a:off x="3657600" y="1143000"/>
            <a:ext cx="1600200" cy="304800"/>
          </a:xfrm>
          <a:custGeom>
            <a:avLst/>
            <a:gdLst/>
            <a:ahLst/>
            <a:cxnLst/>
            <a:rect l="l" t="t" r="r" b="b"/>
            <a:pathLst>
              <a:path w="1600200" h="304800">
                <a:moveTo>
                  <a:pt x="0" y="304800"/>
                </a:moveTo>
                <a:lnTo>
                  <a:pt x="1600200" y="304800"/>
                </a:lnTo>
                <a:lnTo>
                  <a:pt x="160020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905000" y="1447800"/>
            <a:ext cx="5943600" cy="1069975"/>
          </a:xfrm>
          <a:custGeom>
            <a:avLst/>
            <a:gdLst/>
            <a:ahLst/>
            <a:cxnLst/>
            <a:rect l="l" t="t" r="r" b="b"/>
            <a:pathLst>
              <a:path w="5943600" h="1069975">
                <a:moveTo>
                  <a:pt x="0" y="1069975"/>
                </a:moveTo>
                <a:lnTo>
                  <a:pt x="5943600" y="1069975"/>
                </a:lnTo>
                <a:lnTo>
                  <a:pt x="5943600" y="0"/>
                </a:lnTo>
                <a:lnTo>
                  <a:pt x="0" y="0"/>
                </a:lnTo>
                <a:lnTo>
                  <a:pt x="0" y="1069975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983994" y="1105661"/>
            <a:ext cx="5786755" cy="13709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7845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ustomers</a:t>
            </a:r>
            <a:endParaRPr sz="2000">
              <a:latin typeface="Arial"/>
              <a:cs typeface="Arial"/>
            </a:endParaRPr>
          </a:p>
          <a:p>
            <a:pPr marL="12700" marR="5080" algn="just">
              <a:lnSpc>
                <a:spcPct val="100000"/>
              </a:lnSpc>
              <a:spcBef>
                <a:spcPts val="625"/>
              </a:spcBef>
            </a:pPr>
            <a:r>
              <a:rPr sz="1600" b="1" spc="-5" dirty="0">
                <a:latin typeface="Arial"/>
                <a:cs typeface="Arial"/>
              </a:rPr>
              <a:t>A company has contact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dirty="0">
                <a:latin typeface="Arial"/>
                <a:cs typeface="Arial"/>
              </a:rPr>
              <a:t>its </a:t>
            </a:r>
            <a:r>
              <a:rPr sz="1600" b="1" spc="-5" dirty="0">
                <a:latin typeface="Arial"/>
                <a:cs typeface="Arial"/>
              </a:rPr>
              <a:t>business partners, </a:t>
            </a:r>
            <a:r>
              <a:rPr sz="1600" b="1" spc="10" dirty="0">
                <a:latin typeface="Arial"/>
                <a:cs typeface="Arial"/>
              </a:rPr>
              <a:t>who </a:t>
            </a:r>
            <a:r>
              <a:rPr sz="1600" b="1" spc="-5" dirty="0">
                <a:latin typeface="Arial"/>
                <a:cs typeface="Arial"/>
              </a:rPr>
              <a:t>are  customers &amp; contact persons. Data </a:t>
            </a:r>
            <a:r>
              <a:rPr sz="1600" b="1" dirty="0">
                <a:latin typeface="Arial"/>
                <a:cs typeface="Arial"/>
              </a:rPr>
              <a:t>on </a:t>
            </a:r>
            <a:r>
              <a:rPr sz="1600" b="1" spc="-5" dirty="0">
                <a:latin typeface="Arial"/>
                <a:cs typeface="Arial"/>
              </a:rPr>
              <a:t>each of these and  on </a:t>
            </a:r>
            <a:r>
              <a:rPr sz="1600" b="1" spc="-10" dirty="0">
                <a:latin typeface="Arial"/>
                <a:cs typeface="Arial"/>
              </a:rPr>
              <a:t>the company's </a:t>
            </a:r>
            <a:r>
              <a:rPr sz="1600" b="1" spc="-5" dirty="0">
                <a:latin typeface="Arial"/>
                <a:cs typeface="Arial"/>
              </a:rPr>
              <a:t>personnel is stored </a:t>
            </a:r>
            <a:r>
              <a:rPr sz="1600" b="1" dirty="0">
                <a:latin typeface="Arial"/>
                <a:cs typeface="Arial"/>
              </a:rPr>
              <a:t>in </a:t>
            </a:r>
            <a:r>
              <a:rPr sz="1600" b="1" spc="-5" dirty="0">
                <a:latin typeface="Arial"/>
                <a:cs typeface="Arial"/>
              </a:rPr>
              <a:t>a separate master  record.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715000" y="2743200"/>
            <a:ext cx="2667000" cy="457200"/>
          </a:xfrm>
          <a:custGeom>
            <a:avLst/>
            <a:gdLst/>
            <a:ahLst/>
            <a:cxnLst/>
            <a:rect l="l" t="t" r="r" b="b"/>
            <a:pathLst>
              <a:path w="2667000" h="457200">
                <a:moveTo>
                  <a:pt x="0" y="457200"/>
                </a:moveTo>
                <a:lnTo>
                  <a:pt x="2667000" y="457200"/>
                </a:lnTo>
                <a:lnTo>
                  <a:pt x="26670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921121" y="2669921"/>
            <a:ext cx="2259965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ustome</a:t>
            </a:r>
            <a:r>
              <a:rPr sz="2000" b="1" spc="5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-Ma</a:t>
            </a: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ial</a:t>
            </a:r>
            <a:endParaRPr sz="20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331077" y="2913760"/>
            <a:ext cx="1436370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Info</a:t>
            </a:r>
            <a:r>
              <a:rPr sz="2000" b="1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Record</a:t>
            </a:r>
            <a:endParaRPr sz="20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57200" y="3200400"/>
            <a:ext cx="3124200" cy="3025775"/>
          </a:xfrm>
          <a:custGeom>
            <a:avLst/>
            <a:gdLst/>
            <a:ahLst/>
            <a:cxnLst/>
            <a:rect l="l" t="t" r="r" b="b"/>
            <a:pathLst>
              <a:path w="3124200" h="3025775">
                <a:moveTo>
                  <a:pt x="0" y="3025775"/>
                </a:moveTo>
                <a:lnTo>
                  <a:pt x="3124200" y="3025775"/>
                </a:lnTo>
                <a:lnTo>
                  <a:pt x="3124200" y="0"/>
                </a:lnTo>
                <a:lnTo>
                  <a:pt x="0" y="0"/>
                </a:lnTo>
                <a:lnTo>
                  <a:pt x="0" y="3025775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686814" y="3489705"/>
            <a:ext cx="130810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85445" algn="l"/>
                <a:tab pos="880744" algn="l"/>
              </a:tabLst>
            </a:pPr>
            <a:r>
              <a:rPr sz="1600" b="1" spc="-5" dirty="0">
                <a:latin typeface="Arial"/>
                <a:cs typeface="Arial"/>
              </a:rPr>
              <a:t>in	</a:t>
            </a:r>
            <a:r>
              <a:rPr sz="1600" b="1" spc="-10" dirty="0">
                <a:latin typeface="Arial"/>
                <a:cs typeface="Arial"/>
              </a:rPr>
              <a:t>th</a:t>
            </a:r>
            <a:r>
              <a:rPr sz="1600" b="1" spc="-5" dirty="0">
                <a:latin typeface="Arial"/>
                <a:cs typeface="Arial"/>
              </a:rPr>
              <a:t>e</a:t>
            </a:r>
            <a:r>
              <a:rPr sz="1600" b="1" dirty="0">
                <a:latin typeface="Arial"/>
                <a:cs typeface="Arial"/>
              </a:rPr>
              <a:t>	</a:t>
            </a:r>
            <a:r>
              <a:rPr sz="1600" b="1" spc="20" dirty="0">
                <a:latin typeface="Arial"/>
                <a:cs typeface="Arial"/>
              </a:rPr>
              <a:t>S</a:t>
            </a:r>
            <a:r>
              <a:rPr sz="1600" b="1" spc="-55" dirty="0">
                <a:latin typeface="Arial"/>
                <a:cs typeface="Arial"/>
              </a:rPr>
              <a:t>A</a:t>
            </a:r>
            <a:r>
              <a:rPr sz="1600" b="1" spc="-5" dirty="0">
                <a:latin typeface="Arial"/>
                <a:cs typeface="Arial"/>
              </a:rPr>
              <a:t>P</a:t>
            </a:r>
            <a:endParaRPr sz="1600">
              <a:latin typeface="Arial"/>
              <a:cs typeface="Arial"/>
            </a:endParaRPr>
          </a:p>
          <a:p>
            <a:pPr marL="75184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th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609089" y="3245865"/>
            <a:ext cx="1892935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6985" algn="r">
              <a:lnSpc>
                <a:spcPct val="100000"/>
              </a:lnSpc>
              <a:tabLst>
                <a:tab pos="554355" algn="l"/>
                <a:tab pos="1560830" algn="l"/>
              </a:tabLst>
            </a:pPr>
            <a:r>
              <a:rPr sz="1600" b="1" spc="-5" dirty="0">
                <a:latin typeface="Arial"/>
                <a:cs typeface="Arial"/>
              </a:rPr>
              <a:t>and	se</a:t>
            </a:r>
            <a:r>
              <a:rPr sz="1600" b="1" spc="0" dirty="0">
                <a:latin typeface="Arial"/>
                <a:cs typeface="Arial"/>
              </a:rPr>
              <a:t>r</a:t>
            </a:r>
            <a:r>
              <a:rPr sz="1600" b="1" spc="-30" dirty="0">
                <a:latin typeface="Arial"/>
                <a:cs typeface="Arial"/>
              </a:rPr>
              <a:t>v</a:t>
            </a:r>
            <a:r>
              <a:rPr sz="1600" b="1" spc="0" dirty="0">
                <a:latin typeface="Arial"/>
                <a:cs typeface="Arial"/>
              </a:rPr>
              <a:t>i</a:t>
            </a:r>
            <a:r>
              <a:rPr sz="1600" b="1" spc="-5" dirty="0">
                <a:latin typeface="Arial"/>
                <a:cs typeface="Arial"/>
              </a:rPr>
              <a:t>ces</a:t>
            </a:r>
            <a:r>
              <a:rPr sz="1600" b="1" dirty="0">
                <a:latin typeface="Arial"/>
                <a:cs typeface="Arial"/>
              </a:rPr>
              <a:t>	</a:t>
            </a:r>
            <a:r>
              <a:rPr sz="1600" b="1" spc="-5" dirty="0">
                <a:latin typeface="Arial"/>
                <a:cs typeface="Arial"/>
              </a:rPr>
              <a:t>are</a:t>
            </a:r>
            <a:endParaRPr sz="1600">
              <a:latin typeface="Arial"/>
              <a:cs typeface="Arial"/>
            </a:endParaRPr>
          </a:p>
          <a:p>
            <a:pPr marL="1437640" marR="5080" indent="125095" algn="r">
              <a:lnSpc>
                <a:spcPct val="100000"/>
              </a:lnSpc>
            </a:pPr>
            <a:r>
              <a:rPr sz="1600" b="1" spc="0" dirty="0">
                <a:latin typeface="Arial"/>
                <a:cs typeface="Arial"/>
              </a:rPr>
              <a:t>R</a:t>
            </a:r>
            <a:r>
              <a:rPr sz="1600" b="1" spc="-5" dirty="0">
                <a:latin typeface="Arial"/>
                <a:cs typeface="Arial"/>
              </a:rPr>
              <a:t>/3  te</a:t>
            </a:r>
            <a:r>
              <a:rPr sz="1600" b="1" spc="0" dirty="0">
                <a:latin typeface="Arial"/>
                <a:cs typeface="Arial"/>
              </a:rPr>
              <a:t>r</a:t>
            </a:r>
            <a:r>
              <a:rPr sz="1600" b="1" spc="-5" dirty="0">
                <a:latin typeface="Arial"/>
                <a:cs typeface="Arial"/>
              </a:rPr>
              <a:t>m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60322" y="3733545"/>
            <a:ext cx="58928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9230" marR="5080" indent="-177165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u</a:t>
            </a:r>
            <a:r>
              <a:rPr sz="1600" b="1" spc="-15" dirty="0">
                <a:latin typeface="Arial"/>
                <a:cs typeface="Arial"/>
              </a:rPr>
              <a:t>n</a:t>
            </a:r>
            <a:r>
              <a:rPr sz="1600" b="1" spc="-5" dirty="0">
                <a:latin typeface="Arial"/>
                <a:cs typeface="Arial"/>
              </a:rPr>
              <a:t>d</a:t>
            </a:r>
            <a:r>
              <a:rPr sz="1600" b="1" dirty="0">
                <a:latin typeface="Arial"/>
                <a:cs typeface="Arial"/>
              </a:rPr>
              <a:t>e</a:t>
            </a:r>
            <a:r>
              <a:rPr sz="1600" b="1" spc="-5" dirty="0">
                <a:latin typeface="Arial"/>
                <a:cs typeface="Arial"/>
              </a:rPr>
              <a:t>r  </a:t>
            </a:r>
            <a:r>
              <a:rPr sz="1600" b="1" spc="-15" dirty="0">
                <a:latin typeface="Arial"/>
                <a:cs typeface="Arial"/>
              </a:rPr>
              <a:t>Al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35940" y="3245865"/>
            <a:ext cx="1019175" cy="1229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Products  combined  System  </a:t>
            </a:r>
            <a:r>
              <a:rPr sz="1600" b="1" dirty="0">
                <a:latin typeface="Arial"/>
                <a:cs typeface="Arial"/>
              </a:rPr>
              <a:t>material.  </a:t>
            </a:r>
            <a:r>
              <a:rPr sz="1600" b="1" spc="-5" dirty="0">
                <a:latin typeface="Arial"/>
                <a:cs typeface="Arial"/>
              </a:rPr>
              <a:t>necessa</a:t>
            </a:r>
            <a:r>
              <a:rPr sz="1600" b="1" spc="0" dirty="0">
                <a:latin typeface="Arial"/>
                <a:cs typeface="Arial"/>
              </a:rPr>
              <a:t>r</a:t>
            </a:r>
            <a:r>
              <a:rPr sz="1600" b="1" spc="-5" dirty="0"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214117" y="3977385"/>
            <a:ext cx="128587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41605">
              <a:lnSpc>
                <a:spcPct val="100000"/>
              </a:lnSpc>
              <a:tabLst>
                <a:tab pos="969644" algn="l"/>
              </a:tabLst>
            </a:pPr>
            <a:r>
              <a:rPr sz="1600" b="1" spc="0" dirty="0">
                <a:latin typeface="Arial"/>
                <a:cs typeface="Arial"/>
              </a:rPr>
              <a:t>i</a:t>
            </a:r>
            <a:r>
              <a:rPr sz="1600" b="1" spc="-5" dirty="0">
                <a:latin typeface="Arial"/>
                <a:cs typeface="Arial"/>
              </a:rPr>
              <a:t>nfo</a:t>
            </a:r>
            <a:r>
              <a:rPr sz="1600" b="1" spc="0" dirty="0">
                <a:latin typeface="Arial"/>
                <a:cs typeface="Arial"/>
              </a:rPr>
              <a:t>r</a:t>
            </a:r>
            <a:r>
              <a:rPr sz="1600" b="1" spc="-5" dirty="0">
                <a:latin typeface="Arial"/>
                <a:cs typeface="Arial"/>
              </a:rPr>
              <a:t>mation  </a:t>
            </a:r>
            <a:r>
              <a:rPr sz="1600" b="1" spc="-10" dirty="0">
                <a:latin typeface="Arial"/>
                <a:cs typeface="Arial"/>
              </a:rPr>
              <a:t>fo</a:t>
            </a:r>
            <a:r>
              <a:rPr sz="1600" b="1" spc="-5" dirty="0">
                <a:latin typeface="Arial"/>
                <a:cs typeface="Arial"/>
              </a:rPr>
              <a:t>r</a:t>
            </a:r>
            <a:r>
              <a:rPr sz="1600" b="1" dirty="0">
                <a:latin typeface="Arial"/>
                <a:cs typeface="Arial"/>
              </a:rPr>
              <a:t>	</a:t>
            </a:r>
            <a:r>
              <a:rPr sz="1600" b="1" spc="-10" dirty="0">
                <a:latin typeface="Arial"/>
                <a:cs typeface="Arial"/>
              </a:rPr>
              <a:t>th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35940" y="4465446"/>
            <a:ext cx="2966085" cy="1718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management of a material </a:t>
            </a:r>
            <a:r>
              <a:rPr sz="1600" b="1" dirty="0">
                <a:latin typeface="Arial"/>
                <a:cs typeface="Arial"/>
              </a:rPr>
              <a:t>and  </a:t>
            </a:r>
            <a:r>
              <a:rPr sz="1600" b="1" spc="-5" dirty="0">
                <a:latin typeface="Arial"/>
                <a:cs typeface="Arial"/>
              </a:rPr>
              <a:t>its stocks, as </a:t>
            </a:r>
            <a:r>
              <a:rPr sz="1600" b="1" dirty="0">
                <a:latin typeface="Arial"/>
                <a:cs typeface="Arial"/>
              </a:rPr>
              <a:t>well </a:t>
            </a:r>
            <a:r>
              <a:rPr sz="1600" b="1" spc="-5" dirty="0">
                <a:latin typeface="Arial"/>
                <a:cs typeface="Arial"/>
              </a:rPr>
              <a:t>as </a:t>
            </a:r>
            <a:r>
              <a:rPr sz="1600" b="1" dirty="0">
                <a:latin typeface="Arial"/>
                <a:cs typeface="Arial"/>
              </a:rPr>
              <a:t>its </a:t>
            </a:r>
            <a:r>
              <a:rPr sz="1600" b="1" spc="-5" dirty="0">
                <a:latin typeface="Arial"/>
                <a:cs typeface="Arial"/>
              </a:rPr>
              <a:t>use,  is maintained </a:t>
            </a:r>
            <a:r>
              <a:rPr sz="1600" b="1" dirty="0">
                <a:latin typeface="Arial"/>
                <a:cs typeface="Arial"/>
              </a:rPr>
              <a:t>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o-called  material master record. This  includes, for example, data </a:t>
            </a:r>
            <a:r>
              <a:rPr sz="1600" b="1" spc="-10" dirty="0">
                <a:latin typeface="Arial"/>
                <a:cs typeface="Arial"/>
              </a:rPr>
              <a:t>on  </a:t>
            </a:r>
            <a:r>
              <a:rPr sz="1600" b="1" spc="-5" dirty="0">
                <a:latin typeface="Arial"/>
                <a:cs typeface="Arial"/>
              </a:rPr>
              <a:t>purchasing, on sales and </a:t>
            </a:r>
            <a:r>
              <a:rPr sz="1600" b="1" dirty="0">
                <a:latin typeface="Arial"/>
                <a:cs typeface="Arial"/>
              </a:rPr>
              <a:t>on  </a:t>
            </a:r>
            <a:r>
              <a:rPr sz="1600" b="1" spc="-5" dirty="0">
                <a:latin typeface="Arial"/>
                <a:cs typeface="Arial"/>
              </a:rPr>
              <a:t>storage.</a:t>
            </a:r>
            <a:endParaRPr sz="16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562600" y="3200400"/>
            <a:ext cx="3048000" cy="3025775"/>
          </a:xfrm>
          <a:custGeom>
            <a:avLst/>
            <a:gdLst/>
            <a:ahLst/>
            <a:cxnLst/>
            <a:rect l="l" t="t" r="r" b="b"/>
            <a:pathLst>
              <a:path w="3048000" h="3025775">
                <a:moveTo>
                  <a:pt x="0" y="3025775"/>
                </a:moveTo>
                <a:lnTo>
                  <a:pt x="3048000" y="3025775"/>
                </a:lnTo>
                <a:lnTo>
                  <a:pt x="3048000" y="0"/>
                </a:lnTo>
                <a:lnTo>
                  <a:pt x="0" y="0"/>
                </a:lnTo>
                <a:lnTo>
                  <a:pt x="0" y="3025775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5642228" y="3245865"/>
            <a:ext cx="288734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ata on a material defined</a:t>
            </a:r>
            <a:r>
              <a:rPr sz="1600" b="1" spc="6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for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642228" y="3489705"/>
            <a:ext cx="2887980" cy="986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one </a:t>
            </a:r>
            <a:r>
              <a:rPr sz="1600" b="1" spc="-5" dirty="0">
                <a:latin typeface="Arial"/>
                <a:cs typeface="Arial"/>
              </a:rPr>
              <a:t>specific customer is  stored in the customer  material information records.  If   </a:t>
            </a:r>
            <a:r>
              <a:rPr sz="1600" b="1" spc="-10" dirty="0">
                <a:latin typeface="Arial"/>
                <a:cs typeface="Arial"/>
              </a:rPr>
              <a:t>one   </a:t>
            </a:r>
            <a:r>
              <a:rPr sz="1600" b="1" dirty="0">
                <a:latin typeface="Arial"/>
                <a:cs typeface="Arial"/>
              </a:rPr>
              <a:t>of   </a:t>
            </a:r>
            <a:r>
              <a:rPr sz="1600" b="1" spc="-10" dirty="0">
                <a:latin typeface="Arial"/>
                <a:cs typeface="Arial"/>
              </a:rPr>
              <a:t>your  </a:t>
            </a:r>
            <a:r>
              <a:rPr sz="1600" b="1" spc="37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42228" y="4465446"/>
            <a:ext cx="288798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uses a number for a</a:t>
            </a:r>
            <a:r>
              <a:rPr sz="1600" b="1" spc="26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material,</a:t>
            </a:r>
            <a:endParaRPr sz="16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642228" y="4709286"/>
            <a:ext cx="2893695" cy="14744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600" b="1" dirty="0">
                <a:latin typeface="Arial"/>
                <a:cs typeface="Arial"/>
              </a:rPr>
              <a:t>which </a:t>
            </a:r>
            <a:r>
              <a:rPr sz="1600" b="1" spc="-5" dirty="0">
                <a:latin typeface="Arial"/>
                <a:cs typeface="Arial"/>
              </a:rPr>
              <a:t>differs from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spc="-5" dirty="0">
                <a:latin typeface="Arial"/>
                <a:cs typeface="Arial"/>
              </a:rPr>
              <a:t>number </a:t>
            </a:r>
            <a:r>
              <a:rPr sz="1600" b="1" spc="-10" dirty="0">
                <a:latin typeface="Arial"/>
                <a:cs typeface="Arial"/>
              </a:rPr>
              <a:t>your </a:t>
            </a:r>
            <a:r>
              <a:rPr sz="1600" b="1" spc="-5" dirty="0">
                <a:latin typeface="Arial"/>
                <a:cs typeface="Arial"/>
              </a:rPr>
              <a:t>company uses  to </a:t>
            </a:r>
            <a:r>
              <a:rPr sz="1600" b="1" dirty="0">
                <a:latin typeface="Arial"/>
                <a:cs typeface="Arial"/>
              </a:rPr>
              <a:t>identify it, </a:t>
            </a:r>
            <a:r>
              <a:rPr sz="1600" b="1" spc="-1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an store 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material number used </a:t>
            </a:r>
            <a:r>
              <a:rPr sz="1600" b="1" spc="15" dirty="0">
                <a:latin typeface="Arial"/>
                <a:cs typeface="Arial"/>
              </a:rPr>
              <a:t>by 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tomer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tomer  material information</a:t>
            </a:r>
            <a:r>
              <a:rPr sz="1600" b="1" spc="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record.</a:t>
            </a:r>
            <a:endParaRPr sz="16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295400" y="2895600"/>
            <a:ext cx="1447800" cy="323850"/>
          </a:xfrm>
          <a:custGeom>
            <a:avLst/>
            <a:gdLst/>
            <a:ahLst/>
            <a:cxnLst/>
            <a:rect l="l" t="t" r="r" b="b"/>
            <a:pathLst>
              <a:path w="1447800" h="323850">
                <a:moveTo>
                  <a:pt x="0" y="323850"/>
                </a:moveTo>
                <a:lnTo>
                  <a:pt x="1447800" y="323850"/>
                </a:lnTo>
                <a:lnTo>
                  <a:pt x="1447800" y="0"/>
                </a:lnTo>
                <a:lnTo>
                  <a:pt x="0" y="0"/>
                </a:lnTo>
                <a:lnTo>
                  <a:pt x="0" y="3238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455166" y="2868040"/>
            <a:ext cx="1128395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Materia</a:t>
            </a: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endParaRPr sz="20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025646" y="3051936"/>
            <a:ext cx="1380616" cy="13676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842511" y="3057144"/>
            <a:ext cx="191008" cy="128269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838575" y="2825750"/>
            <a:ext cx="1571625" cy="5012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228465" y="2933700"/>
            <a:ext cx="760222" cy="24422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228465" y="2931160"/>
            <a:ext cx="760730" cy="133985"/>
          </a:xfrm>
          <a:custGeom>
            <a:avLst/>
            <a:gdLst/>
            <a:ahLst/>
            <a:cxnLst/>
            <a:rect l="l" t="t" r="r" b="b"/>
            <a:pathLst>
              <a:path w="760729" h="133985">
                <a:moveTo>
                  <a:pt x="490474" y="2539"/>
                </a:moveTo>
                <a:lnTo>
                  <a:pt x="262000" y="2539"/>
                </a:lnTo>
                <a:lnTo>
                  <a:pt x="230505" y="5079"/>
                </a:lnTo>
                <a:lnTo>
                  <a:pt x="195072" y="12826"/>
                </a:lnTo>
                <a:lnTo>
                  <a:pt x="163575" y="15366"/>
                </a:lnTo>
                <a:lnTo>
                  <a:pt x="133985" y="25653"/>
                </a:lnTo>
                <a:lnTo>
                  <a:pt x="108331" y="30861"/>
                </a:lnTo>
                <a:lnTo>
                  <a:pt x="84709" y="38607"/>
                </a:lnTo>
                <a:lnTo>
                  <a:pt x="41401" y="59054"/>
                </a:lnTo>
                <a:lnTo>
                  <a:pt x="27686" y="64262"/>
                </a:lnTo>
                <a:lnTo>
                  <a:pt x="15875" y="77088"/>
                </a:lnTo>
                <a:lnTo>
                  <a:pt x="5969" y="87375"/>
                </a:lnTo>
                <a:lnTo>
                  <a:pt x="0" y="97662"/>
                </a:lnTo>
                <a:lnTo>
                  <a:pt x="0" y="120776"/>
                </a:lnTo>
                <a:lnTo>
                  <a:pt x="4063" y="131063"/>
                </a:lnTo>
                <a:lnTo>
                  <a:pt x="5969" y="133730"/>
                </a:lnTo>
                <a:lnTo>
                  <a:pt x="15875" y="123443"/>
                </a:lnTo>
                <a:lnTo>
                  <a:pt x="23749" y="113156"/>
                </a:lnTo>
                <a:lnTo>
                  <a:pt x="41401" y="107950"/>
                </a:lnTo>
                <a:lnTo>
                  <a:pt x="53212" y="97662"/>
                </a:lnTo>
                <a:lnTo>
                  <a:pt x="70993" y="89915"/>
                </a:lnTo>
                <a:lnTo>
                  <a:pt x="90677" y="84836"/>
                </a:lnTo>
                <a:lnTo>
                  <a:pt x="114300" y="77088"/>
                </a:lnTo>
                <a:lnTo>
                  <a:pt x="139954" y="72009"/>
                </a:lnTo>
                <a:lnTo>
                  <a:pt x="163575" y="64262"/>
                </a:lnTo>
                <a:lnTo>
                  <a:pt x="189102" y="59054"/>
                </a:lnTo>
                <a:lnTo>
                  <a:pt x="218694" y="59054"/>
                </a:lnTo>
                <a:lnTo>
                  <a:pt x="248158" y="51435"/>
                </a:lnTo>
                <a:lnTo>
                  <a:pt x="279781" y="51435"/>
                </a:lnTo>
                <a:lnTo>
                  <a:pt x="342773" y="46227"/>
                </a:lnTo>
                <a:lnTo>
                  <a:pt x="695325" y="46227"/>
                </a:lnTo>
                <a:lnTo>
                  <a:pt x="671702" y="35940"/>
                </a:lnTo>
                <a:lnTo>
                  <a:pt x="647954" y="28320"/>
                </a:lnTo>
                <a:lnTo>
                  <a:pt x="620395" y="23113"/>
                </a:lnTo>
                <a:lnTo>
                  <a:pt x="588899" y="15366"/>
                </a:lnTo>
                <a:lnTo>
                  <a:pt x="559435" y="12826"/>
                </a:lnTo>
                <a:lnTo>
                  <a:pt x="523875" y="5079"/>
                </a:lnTo>
                <a:lnTo>
                  <a:pt x="490474" y="2539"/>
                </a:lnTo>
                <a:close/>
              </a:path>
              <a:path w="760729" h="133985">
                <a:moveTo>
                  <a:pt x="695325" y="46227"/>
                </a:moveTo>
                <a:lnTo>
                  <a:pt x="411734" y="46227"/>
                </a:lnTo>
                <a:lnTo>
                  <a:pt x="474725" y="51435"/>
                </a:lnTo>
                <a:lnTo>
                  <a:pt x="506222" y="51435"/>
                </a:lnTo>
                <a:lnTo>
                  <a:pt x="533781" y="59054"/>
                </a:lnTo>
                <a:lnTo>
                  <a:pt x="565276" y="59054"/>
                </a:lnTo>
                <a:lnTo>
                  <a:pt x="588899" y="64262"/>
                </a:lnTo>
                <a:lnTo>
                  <a:pt x="614552" y="72009"/>
                </a:lnTo>
                <a:lnTo>
                  <a:pt x="640080" y="77088"/>
                </a:lnTo>
                <a:lnTo>
                  <a:pt x="661797" y="84836"/>
                </a:lnTo>
                <a:lnTo>
                  <a:pt x="683513" y="89915"/>
                </a:lnTo>
                <a:lnTo>
                  <a:pt x="701167" y="97662"/>
                </a:lnTo>
                <a:lnTo>
                  <a:pt x="715010" y="107950"/>
                </a:lnTo>
                <a:lnTo>
                  <a:pt x="728726" y="113156"/>
                </a:lnTo>
                <a:lnTo>
                  <a:pt x="740537" y="120776"/>
                </a:lnTo>
                <a:lnTo>
                  <a:pt x="750443" y="133730"/>
                </a:lnTo>
                <a:lnTo>
                  <a:pt x="752348" y="131063"/>
                </a:lnTo>
                <a:lnTo>
                  <a:pt x="756285" y="120776"/>
                </a:lnTo>
                <a:lnTo>
                  <a:pt x="760222" y="113156"/>
                </a:lnTo>
                <a:lnTo>
                  <a:pt x="760222" y="107950"/>
                </a:lnTo>
                <a:lnTo>
                  <a:pt x="756285" y="97662"/>
                </a:lnTo>
                <a:lnTo>
                  <a:pt x="750443" y="84836"/>
                </a:lnTo>
                <a:lnTo>
                  <a:pt x="746506" y="74549"/>
                </a:lnTo>
                <a:lnTo>
                  <a:pt x="728726" y="64262"/>
                </a:lnTo>
                <a:lnTo>
                  <a:pt x="712977" y="51435"/>
                </a:lnTo>
                <a:lnTo>
                  <a:pt x="695325" y="46227"/>
                </a:lnTo>
                <a:close/>
              </a:path>
              <a:path w="760729" h="133985">
                <a:moveTo>
                  <a:pt x="413638" y="0"/>
                </a:moveTo>
                <a:lnTo>
                  <a:pt x="340740" y="0"/>
                </a:lnTo>
                <a:lnTo>
                  <a:pt x="303402" y="2539"/>
                </a:lnTo>
                <a:lnTo>
                  <a:pt x="451104" y="2539"/>
                </a:lnTo>
                <a:lnTo>
                  <a:pt x="413638" y="0"/>
                </a:lnTo>
                <a:close/>
              </a:path>
            </a:pathLst>
          </a:custGeom>
          <a:solidFill>
            <a:srgbClr val="7CD3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4010659" y="3575939"/>
            <a:ext cx="1106170" cy="239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500" b="1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r>
              <a:rPr sz="1500" b="1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endParaRPr sz="1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64819" y="1066800"/>
            <a:ext cx="5047488" cy="3825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198364" y="1066800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4068" y="1395983"/>
            <a:ext cx="377952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96900" y="1137158"/>
            <a:ext cx="4758690" cy="274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most important SD basic </a:t>
            </a:r>
            <a:r>
              <a:rPr sz="1800" b="1" dirty="0">
                <a:latin typeface="Arial"/>
                <a:cs typeface="Arial"/>
              </a:rPr>
              <a:t>functions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re: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26920" y="260604"/>
            <a:ext cx="886968" cy="8976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</a:t>
            </a:r>
          </a:p>
        </p:txBody>
      </p:sp>
      <p:sp>
        <p:nvSpPr>
          <p:cNvPr id="9" name="object 9"/>
          <p:cNvSpPr/>
          <p:nvPr/>
        </p:nvSpPr>
        <p:spPr>
          <a:xfrm>
            <a:off x="533400" y="1600200"/>
            <a:ext cx="1724025" cy="1463040"/>
          </a:xfrm>
          <a:custGeom>
            <a:avLst/>
            <a:gdLst/>
            <a:ahLst/>
            <a:cxnLst/>
            <a:rect l="l" t="t" r="r" b="b"/>
            <a:pathLst>
              <a:path w="1724025" h="1463039">
                <a:moveTo>
                  <a:pt x="0" y="1463039"/>
                </a:moveTo>
                <a:lnTo>
                  <a:pt x="1724025" y="1463039"/>
                </a:lnTo>
                <a:lnTo>
                  <a:pt x="1724025" y="0"/>
                </a:lnTo>
                <a:lnTo>
                  <a:pt x="0" y="0"/>
                </a:lnTo>
                <a:lnTo>
                  <a:pt x="0" y="146303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33400" y="3063239"/>
            <a:ext cx="1724025" cy="1616075"/>
          </a:xfrm>
          <a:custGeom>
            <a:avLst/>
            <a:gdLst/>
            <a:ahLst/>
            <a:cxnLst/>
            <a:rect l="l" t="t" r="r" b="b"/>
            <a:pathLst>
              <a:path w="1724025" h="1616075">
                <a:moveTo>
                  <a:pt x="0" y="1616075"/>
                </a:moveTo>
                <a:lnTo>
                  <a:pt x="1724025" y="1616075"/>
                </a:lnTo>
                <a:lnTo>
                  <a:pt x="1724025" y="0"/>
                </a:lnTo>
                <a:lnTo>
                  <a:pt x="0" y="0"/>
                </a:lnTo>
                <a:lnTo>
                  <a:pt x="0" y="16160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33400" y="4679315"/>
            <a:ext cx="1724025" cy="1463040"/>
          </a:xfrm>
          <a:custGeom>
            <a:avLst/>
            <a:gdLst/>
            <a:ahLst/>
            <a:cxnLst/>
            <a:rect l="l" t="t" r="r" b="b"/>
            <a:pathLst>
              <a:path w="1724025" h="1463039">
                <a:moveTo>
                  <a:pt x="0" y="1463040"/>
                </a:moveTo>
                <a:lnTo>
                  <a:pt x="1724025" y="1463040"/>
                </a:lnTo>
                <a:lnTo>
                  <a:pt x="1724025" y="0"/>
                </a:lnTo>
                <a:lnTo>
                  <a:pt x="0" y="0"/>
                </a:lnTo>
                <a:lnTo>
                  <a:pt x="0" y="146304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257425" y="1593850"/>
            <a:ext cx="0" cy="4554855"/>
          </a:xfrm>
          <a:custGeom>
            <a:avLst/>
            <a:gdLst/>
            <a:ahLst/>
            <a:cxnLst/>
            <a:rect l="l" t="t" r="r" b="b"/>
            <a:pathLst>
              <a:path h="4554855">
                <a:moveTo>
                  <a:pt x="0" y="0"/>
                </a:moveTo>
                <a:lnTo>
                  <a:pt x="0" y="45548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27050" y="3063239"/>
            <a:ext cx="8166100" cy="0"/>
          </a:xfrm>
          <a:custGeom>
            <a:avLst/>
            <a:gdLst/>
            <a:ahLst/>
            <a:cxnLst/>
            <a:rect l="l" t="t" r="r" b="b"/>
            <a:pathLst>
              <a:path w="8166100">
                <a:moveTo>
                  <a:pt x="0" y="0"/>
                </a:moveTo>
                <a:lnTo>
                  <a:pt x="8166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27050" y="4679315"/>
            <a:ext cx="8166100" cy="0"/>
          </a:xfrm>
          <a:custGeom>
            <a:avLst/>
            <a:gdLst/>
            <a:ahLst/>
            <a:cxnLst/>
            <a:rect l="l" t="t" r="r" b="b"/>
            <a:pathLst>
              <a:path w="8166100">
                <a:moveTo>
                  <a:pt x="0" y="0"/>
                </a:moveTo>
                <a:lnTo>
                  <a:pt x="8166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33400" y="1593850"/>
            <a:ext cx="0" cy="4554855"/>
          </a:xfrm>
          <a:custGeom>
            <a:avLst/>
            <a:gdLst/>
            <a:ahLst/>
            <a:cxnLst/>
            <a:rect l="l" t="t" r="r" b="b"/>
            <a:pathLst>
              <a:path h="4554855">
                <a:moveTo>
                  <a:pt x="0" y="0"/>
                </a:moveTo>
                <a:lnTo>
                  <a:pt x="0" y="45548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686800" y="1593850"/>
            <a:ext cx="0" cy="4554855"/>
          </a:xfrm>
          <a:custGeom>
            <a:avLst/>
            <a:gdLst/>
            <a:ahLst/>
            <a:cxnLst/>
            <a:rect l="l" t="t" r="r" b="b"/>
            <a:pathLst>
              <a:path h="4554855">
                <a:moveTo>
                  <a:pt x="0" y="0"/>
                </a:moveTo>
                <a:lnTo>
                  <a:pt x="0" y="45548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27050" y="1600200"/>
            <a:ext cx="8166100" cy="0"/>
          </a:xfrm>
          <a:custGeom>
            <a:avLst/>
            <a:gdLst/>
            <a:ahLst/>
            <a:cxnLst/>
            <a:rect l="l" t="t" r="r" b="b"/>
            <a:pathLst>
              <a:path w="8166100">
                <a:moveTo>
                  <a:pt x="0" y="0"/>
                </a:moveTo>
                <a:lnTo>
                  <a:pt x="8166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7050" y="6142354"/>
            <a:ext cx="8166100" cy="0"/>
          </a:xfrm>
          <a:custGeom>
            <a:avLst/>
            <a:gdLst/>
            <a:ahLst/>
            <a:cxnLst/>
            <a:rect l="l" t="t" r="r" b="b"/>
            <a:pathLst>
              <a:path w="8166100">
                <a:moveTo>
                  <a:pt x="0" y="0"/>
                </a:moveTo>
                <a:lnTo>
                  <a:pt x="8166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04444" y="1566672"/>
            <a:ext cx="960119" cy="3154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612140" y="1611121"/>
            <a:ext cx="672465" cy="239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500" b="1" spc="-5" dirty="0">
                <a:latin typeface="Arial"/>
                <a:cs typeface="Arial"/>
              </a:rPr>
              <a:t>Pr</a:t>
            </a:r>
            <a:r>
              <a:rPr sz="1500" b="1" dirty="0">
                <a:latin typeface="Arial"/>
                <a:cs typeface="Arial"/>
              </a:rPr>
              <a:t>icing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336419" y="1643126"/>
            <a:ext cx="5983605" cy="1383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500" spc="-5" dirty="0">
                <a:latin typeface="Arial"/>
                <a:cs typeface="Arial"/>
              </a:rPr>
              <a:t>The </a:t>
            </a:r>
            <a:r>
              <a:rPr sz="1500" i="1" dirty="0">
                <a:latin typeface="Arial"/>
                <a:cs typeface="Arial"/>
              </a:rPr>
              <a:t>condition technique </a:t>
            </a:r>
            <a:r>
              <a:rPr sz="1500" dirty="0">
                <a:latin typeface="Arial"/>
                <a:cs typeface="Arial"/>
              </a:rPr>
              <a:t>refers to the method </a:t>
            </a:r>
            <a:r>
              <a:rPr sz="1500" spc="-5" dirty="0">
                <a:latin typeface="Arial"/>
                <a:cs typeface="Arial"/>
              </a:rPr>
              <a:t>by which </a:t>
            </a:r>
            <a:r>
              <a:rPr sz="1500" dirty="0">
                <a:latin typeface="Arial"/>
                <a:cs typeface="Arial"/>
              </a:rPr>
              <a:t>the </a:t>
            </a:r>
            <a:r>
              <a:rPr sz="1500" spc="-5" dirty="0">
                <a:latin typeface="Arial"/>
                <a:cs typeface="Arial"/>
              </a:rPr>
              <a:t>system  </a:t>
            </a:r>
            <a:r>
              <a:rPr sz="1500" dirty="0">
                <a:latin typeface="Arial"/>
                <a:cs typeface="Arial"/>
              </a:rPr>
              <a:t>determines prices from information stored </a:t>
            </a:r>
            <a:r>
              <a:rPr sz="1500" spc="-5" dirty="0">
                <a:latin typeface="Arial"/>
                <a:cs typeface="Arial"/>
              </a:rPr>
              <a:t>in </a:t>
            </a:r>
            <a:r>
              <a:rPr sz="1500" dirty="0">
                <a:latin typeface="Arial"/>
                <a:cs typeface="Arial"/>
              </a:rPr>
              <a:t>condition records.</a:t>
            </a:r>
            <a:r>
              <a:rPr sz="1500" spc="-220" dirty="0">
                <a:latin typeface="Arial"/>
                <a:cs typeface="Arial"/>
              </a:rPr>
              <a:t> </a:t>
            </a:r>
            <a:r>
              <a:rPr sz="1500" spc="-20" dirty="0">
                <a:latin typeface="Arial"/>
                <a:cs typeface="Arial"/>
              </a:rPr>
              <a:t>Various  </a:t>
            </a:r>
            <a:r>
              <a:rPr sz="1500" dirty="0">
                <a:latin typeface="Arial"/>
                <a:cs typeface="Arial"/>
              </a:rPr>
              <a:t>elements </a:t>
            </a:r>
            <a:r>
              <a:rPr sz="1500" spc="-5" dirty="0">
                <a:latin typeface="Arial"/>
                <a:cs typeface="Arial"/>
              </a:rPr>
              <a:t>used in </a:t>
            </a:r>
            <a:r>
              <a:rPr sz="1500" dirty="0">
                <a:latin typeface="Arial"/>
                <a:cs typeface="Arial"/>
              </a:rPr>
              <a:t>the condition technique </a:t>
            </a:r>
            <a:r>
              <a:rPr sz="1500" spc="-5" dirty="0">
                <a:latin typeface="Arial"/>
                <a:cs typeface="Arial"/>
              </a:rPr>
              <a:t>are </a:t>
            </a:r>
            <a:r>
              <a:rPr sz="1500" dirty="0">
                <a:latin typeface="Arial"/>
                <a:cs typeface="Arial"/>
              </a:rPr>
              <a:t>set </a:t>
            </a:r>
            <a:r>
              <a:rPr sz="1500" spc="-5" dirty="0">
                <a:latin typeface="Arial"/>
                <a:cs typeface="Arial"/>
              </a:rPr>
              <a:t>up and </a:t>
            </a:r>
            <a:r>
              <a:rPr sz="1500" dirty="0">
                <a:latin typeface="Arial"/>
                <a:cs typeface="Arial"/>
              </a:rPr>
              <a:t>controlled </a:t>
            </a:r>
            <a:r>
              <a:rPr sz="1500" spc="-5" dirty="0">
                <a:latin typeface="Arial"/>
                <a:cs typeface="Arial"/>
              </a:rPr>
              <a:t>in  </a:t>
            </a:r>
            <a:r>
              <a:rPr sz="1500" dirty="0">
                <a:latin typeface="Arial"/>
                <a:cs typeface="Arial"/>
              </a:rPr>
              <a:t>Customizing. During sales order processing, the </a:t>
            </a:r>
            <a:r>
              <a:rPr sz="1500" spc="-5" dirty="0">
                <a:latin typeface="Arial"/>
                <a:cs typeface="Arial"/>
              </a:rPr>
              <a:t>system uses </a:t>
            </a:r>
            <a:r>
              <a:rPr sz="1500" dirty="0">
                <a:latin typeface="Arial"/>
                <a:cs typeface="Arial"/>
              </a:rPr>
              <a:t>the  condition technique to determine </a:t>
            </a:r>
            <a:r>
              <a:rPr sz="1500" spc="-5" dirty="0">
                <a:latin typeface="Arial"/>
                <a:cs typeface="Arial"/>
              </a:rPr>
              <a:t>a variety </a:t>
            </a:r>
            <a:r>
              <a:rPr sz="1500" dirty="0">
                <a:latin typeface="Arial"/>
                <a:cs typeface="Arial"/>
              </a:rPr>
              <a:t>of important pricing  information.</a:t>
            </a:r>
            <a:endParaRPr sz="15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04444" y="3029711"/>
            <a:ext cx="1773936" cy="31546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12140" y="3074542"/>
            <a:ext cx="7900034" cy="1567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630"/>
              </a:lnSpc>
            </a:pPr>
            <a:r>
              <a:rPr sz="1500" b="1" spc="-40" dirty="0">
                <a:latin typeface="Arial"/>
                <a:cs typeface="Arial"/>
              </a:rPr>
              <a:t>Text</a:t>
            </a:r>
            <a:r>
              <a:rPr sz="1500" b="1" spc="-5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Processing</a:t>
            </a:r>
            <a:endParaRPr sz="1500">
              <a:latin typeface="Arial"/>
              <a:cs typeface="Arial"/>
            </a:endParaRPr>
          </a:p>
          <a:p>
            <a:pPr marL="1736725">
              <a:lnSpc>
                <a:spcPts val="1630"/>
              </a:lnSpc>
            </a:pPr>
            <a:r>
              <a:rPr sz="1500" dirty="0">
                <a:latin typeface="Arial"/>
                <a:cs typeface="Arial"/>
              </a:rPr>
              <a:t>In </a:t>
            </a:r>
            <a:r>
              <a:rPr sz="1500" spc="-5" dirty="0">
                <a:latin typeface="Arial"/>
                <a:cs typeface="Arial"/>
              </a:rPr>
              <a:t>a </a:t>
            </a:r>
            <a:r>
              <a:rPr sz="1500" dirty="0">
                <a:latin typeface="Arial"/>
                <a:cs typeface="Arial"/>
              </a:rPr>
              <a:t>business relationship, it </a:t>
            </a:r>
            <a:r>
              <a:rPr sz="1500" spc="-5" dirty="0">
                <a:latin typeface="Arial"/>
                <a:cs typeface="Arial"/>
              </a:rPr>
              <a:t>is essential </a:t>
            </a:r>
            <a:r>
              <a:rPr sz="1500" dirty="0">
                <a:latin typeface="Arial"/>
                <a:cs typeface="Arial"/>
              </a:rPr>
              <a:t>that business partners</a:t>
            </a:r>
            <a:r>
              <a:rPr sz="1500" spc="-190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exchange</a:t>
            </a:r>
            <a:endParaRPr sz="1500">
              <a:latin typeface="Arial"/>
              <a:cs typeface="Arial"/>
            </a:endParaRPr>
          </a:p>
          <a:p>
            <a:pPr marL="1736725" marR="76835">
              <a:lnSpc>
                <a:spcPct val="100000"/>
              </a:lnSpc>
            </a:pPr>
            <a:r>
              <a:rPr sz="1500" dirty="0">
                <a:latin typeface="Arial"/>
                <a:cs typeface="Arial"/>
              </a:rPr>
              <a:t>information throughout the logistics chain. In sales </a:t>
            </a:r>
            <a:r>
              <a:rPr sz="1500" spc="-5" dirty="0">
                <a:latin typeface="Arial"/>
                <a:cs typeface="Arial"/>
              </a:rPr>
              <a:t>and </a:t>
            </a:r>
            <a:r>
              <a:rPr sz="1500" dirty="0">
                <a:latin typeface="Arial"/>
                <a:cs typeface="Arial"/>
              </a:rPr>
              <a:t>distribution, this  </a:t>
            </a:r>
            <a:r>
              <a:rPr sz="1500" spc="-5" dirty="0">
                <a:latin typeface="Arial"/>
                <a:cs typeface="Arial"/>
              </a:rPr>
              <a:t>exchange </a:t>
            </a:r>
            <a:r>
              <a:rPr sz="1500" dirty="0">
                <a:latin typeface="Arial"/>
                <a:cs typeface="Arial"/>
              </a:rPr>
              <a:t>of information </a:t>
            </a:r>
            <a:r>
              <a:rPr sz="1500" spc="-5" dirty="0">
                <a:latin typeface="Arial"/>
                <a:cs typeface="Arial"/>
              </a:rPr>
              <a:t>is </a:t>
            </a:r>
            <a:r>
              <a:rPr sz="1500" dirty="0">
                <a:latin typeface="Arial"/>
                <a:cs typeface="Arial"/>
              </a:rPr>
              <a:t>supported </a:t>
            </a:r>
            <a:r>
              <a:rPr sz="1500" spc="-5" dirty="0">
                <a:latin typeface="Arial"/>
                <a:cs typeface="Arial"/>
              </a:rPr>
              <a:t>by texts in </a:t>
            </a:r>
            <a:r>
              <a:rPr sz="1500" dirty="0">
                <a:latin typeface="Arial"/>
                <a:cs typeface="Arial"/>
              </a:rPr>
              <a:t>master records </a:t>
            </a:r>
            <a:r>
              <a:rPr sz="1500" spc="-5" dirty="0">
                <a:latin typeface="Arial"/>
                <a:cs typeface="Arial"/>
              </a:rPr>
              <a:t>and  </a:t>
            </a:r>
            <a:r>
              <a:rPr sz="1500" dirty="0">
                <a:latin typeface="Arial"/>
                <a:cs typeface="Arial"/>
              </a:rPr>
              <a:t>documents. </a:t>
            </a:r>
            <a:r>
              <a:rPr sz="1500" spc="-55" dirty="0">
                <a:latin typeface="Arial"/>
                <a:cs typeface="Arial"/>
              </a:rPr>
              <a:t>You </a:t>
            </a:r>
            <a:r>
              <a:rPr sz="1500" dirty="0">
                <a:latin typeface="Arial"/>
                <a:cs typeface="Arial"/>
              </a:rPr>
              <a:t>can maintain these </a:t>
            </a:r>
            <a:r>
              <a:rPr sz="1500" spc="-5" dirty="0">
                <a:latin typeface="Arial"/>
                <a:cs typeface="Arial"/>
              </a:rPr>
              <a:t>texts </a:t>
            </a:r>
            <a:r>
              <a:rPr sz="1500" dirty="0">
                <a:latin typeface="Arial"/>
                <a:cs typeface="Arial"/>
              </a:rPr>
              <a:t>for Customer </a:t>
            </a:r>
            <a:r>
              <a:rPr sz="1500" spc="-5" dirty="0">
                <a:latin typeface="Arial"/>
                <a:cs typeface="Arial"/>
              </a:rPr>
              <a:t>or </a:t>
            </a:r>
            <a:r>
              <a:rPr sz="1500" dirty="0">
                <a:latin typeface="Arial"/>
                <a:cs typeface="Arial"/>
              </a:rPr>
              <a:t>Material  Masters </a:t>
            </a:r>
            <a:r>
              <a:rPr sz="1500" spc="-5" dirty="0">
                <a:latin typeface="Arial"/>
                <a:cs typeface="Arial"/>
              </a:rPr>
              <a:t>or define </a:t>
            </a:r>
            <a:r>
              <a:rPr sz="1500" dirty="0">
                <a:latin typeface="Arial"/>
                <a:cs typeface="Arial"/>
              </a:rPr>
              <a:t>them </a:t>
            </a:r>
            <a:r>
              <a:rPr sz="1500" spc="-5" dirty="0">
                <a:latin typeface="Arial"/>
                <a:cs typeface="Arial"/>
              </a:rPr>
              <a:t>so </a:t>
            </a:r>
            <a:r>
              <a:rPr sz="1500" dirty="0">
                <a:latin typeface="Arial"/>
                <a:cs typeface="Arial"/>
              </a:rPr>
              <a:t>that they can </a:t>
            </a:r>
            <a:r>
              <a:rPr sz="1500" spc="-5" dirty="0">
                <a:latin typeface="Arial"/>
                <a:cs typeface="Arial"/>
              </a:rPr>
              <a:t>be used more </a:t>
            </a:r>
            <a:r>
              <a:rPr sz="1500" spc="-20" dirty="0">
                <a:latin typeface="Arial"/>
                <a:cs typeface="Arial"/>
              </a:rPr>
              <a:t>flexibly. </a:t>
            </a:r>
            <a:r>
              <a:rPr sz="1500" spc="-5" dirty="0">
                <a:latin typeface="Arial"/>
                <a:cs typeface="Arial"/>
              </a:rPr>
              <a:t>Example:  Sales </a:t>
            </a:r>
            <a:r>
              <a:rPr sz="1500" dirty="0">
                <a:latin typeface="Arial"/>
                <a:cs typeface="Arial"/>
              </a:rPr>
              <a:t>Notes for Customers, Shipping Instructions </a:t>
            </a:r>
            <a:r>
              <a:rPr sz="1500" spc="-5" dirty="0">
                <a:latin typeface="Arial"/>
                <a:cs typeface="Arial"/>
              </a:rPr>
              <a:t>in</a:t>
            </a:r>
            <a:r>
              <a:rPr sz="1500" spc="-145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Deliveries</a:t>
            </a:r>
            <a:endParaRPr sz="15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04444" y="4645152"/>
            <a:ext cx="938784" cy="31546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04444" y="4850891"/>
            <a:ext cx="1597152" cy="3154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612140" y="4716779"/>
            <a:ext cx="1308735" cy="4197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20"/>
              </a:lnSpc>
            </a:pPr>
            <a:r>
              <a:rPr sz="1500" b="1" spc="-5" dirty="0">
                <a:latin typeface="Arial"/>
                <a:cs typeface="Arial"/>
              </a:rPr>
              <a:t>Output  De</a:t>
            </a:r>
            <a:r>
              <a:rPr sz="1500" b="1" dirty="0">
                <a:latin typeface="Arial"/>
                <a:cs typeface="Arial"/>
              </a:rPr>
              <a:t>t</a:t>
            </a:r>
            <a:r>
              <a:rPr sz="1500" b="1" spc="-5" dirty="0">
                <a:latin typeface="Arial"/>
                <a:cs typeface="Arial"/>
              </a:rPr>
              <a:t>ermina</a:t>
            </a:r>
            <a:r>
              <a:rPr sz="1500" b="1" spc="5" dirty="0">
                <a:latin typeface="Arial"/>
                <a:cs typeface="Arial"/>
              </a:rPr>
              <a:t>t</a:t>
            </a:r>
            <a:r>
              <a:rPr sz="1500" b="1" dirty="0">
                <a:latin typeface="Arial"/>
                <a:cs typeface="Arial"/>
              </a:rPr>
              <a:t>ion</a:t>
            </a:r>
            <a:endParaRPr sz="15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336419" y="4722876"/>
            <a:ext cx="6127115" cy="1383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500" spc="-5" dirty="0">
                <a:latin typeface="Arial"/>
                <a:cs typeface="Arial"/>
              </a:rPr>
              <a:t>The </a:t>
            </a:r>
            <a:r>
              <a:rPr sz="1500" i="1" dirty="0">
                <a:latin typeface="Arial"/>
                <a:cs typeface="Arial"/>
              </a:rPr>
              <a:t>Output </a:t>
            </a:r>
            <a:r>
              <a:rPr sz="1500" i="1" spc="-5" dirty="0">
                <a:latin typeface="Arial"/>
                <a:cs typeface="Arial"/>
              </a:rPr>
              <a:t>Determination </a:t>
            </a:r>
            <a:r>
              <a:rPr sz="1500" spc="-5" dirty="0">
                <a:latin typeface="Arial"/>
                <a:cs typeface="Arial"/>
              </a:rPr>
              <a:t>component offers </a:t>
            </a:r>
            <a:r>
              <a:rPr sz="1500" dirty="0">
                <a:latin typeface="Arial"/>
                <a:cs typeface="Arial"/>
              </a:rPr>
              <a:t>output functions for sales,  shipping, transportation, </a:t>
            </a:r>
            <a:r>
              <a:rPr sz="1500" spc="-5" dirty="0">
                <a:latin typeface="Arial"/>
                <a:cs typeface="Arial"/>
              </a:rPr>
              <a:t>and billing </a:t>
            </a:r>
            <a:r>
              <a:rPr sz="1500" dirty="0">
                <a:latin typeface="Arial"/>
                <a:cs typeface="Arial"/>
              </a:rPr>
              <a:t>to </a:t>
            </a:r>
            <a:r>
              <a:rPr sz="1500" spc="-5" dirty="0">
                <a:latin typeface="Arial"/>
                <a:cs typeface="Arial"/>
              </a:rPr>
              <a:t>help </a:t>
            </a:r>
            <a:r>
              <a:rPr sz="1500" spc="-10" dirty="0">
                <a:latin typeface="Arial"/>
                <a:cs typeface="Arial"/>
              </a:rPr>
              <a:t>you </a:t>
            </a:r>
            <a:r>
              <a:rPr sz="1500" spc="-5" dirty="0">
                <a:latin typeface="Arial"/>
                <a:cs typeface="Arial"/>
              </a:rPr>
              <a:t>manage </a:t>
            </a:r>
            <a:r>
              <a:rPr sz="1500" dirty="0">
                <a:latin typeface="Arial"/>
                <a:cs typeface="Arial"/>
              </a:rPr>
              <a:t>sales  transactions </a:t>
            </a:r>
            <a:r>
              <a:rPr sz="1500" spc="-5" dirty="0">
                <a:latin typeface="Arial"/>
                <a:cs typeface="Arial"/>
              </a:rPr>
              <a:t>with your </a:t>
            </a:r>
            <a:r>
              <a:rPr sz="1500" dirty="0">
                <a:latin typeface="Arial"/>
                <a:cs typeface="Arial"/>
              </a:rPr>
              <a:t>customers and </a:t>
            </a:r>
            <a:r>
              <a:rPr sz="1500" spc="-5" dirty="0">
                <a:latin typeface="Arial"/>
                <a:cs typeface="Arial"/>
              </a:rPr>
              <a:t>within your </a:t>
            </a:r>
            <a:r>
              <a:rPr sz="1500" spc="-15" dirty="0">
                <a:latin typeface="Arial"/>
                <a:cs typeface="Arial"/>
              </a:rPr>
              <a:t>company. </a:t>
            </a:r>
            <a:r>
              <a:rPr sz="1500" dirty="0">
                <a:latin typeface="Arial"/>
                <a:cs typeface="Arial"/>
              </a:rPr>
              <a:t>Output </a:t>
            </a:r>
            <a:r>
              <a:rPr sz="1500" spc="-5" dirty="0">
                <a:latin typeface="Arial"/>
                <a:cs typeface="Arial"/>
              </a:rPr>
              <a:t>types  are used </a:t>
            </a:r>
            <a:r>
              <a:rPr sz="1500" dirty="0">
                <a:latin typeface="Arial"/>
                <a:cs typeface="Arial"/>
              </a:rPr>
              <a:t>to represent </a:t>
            </a:r>
            <a:r>
              <a:rPr sz="1500" spc="-5" dirty="0">
                <a:latin typeface="Arial"/>
                <a:cs typeface="Arial"/>
              </a:rPr>
              <a:t>various </a:t>
            </a:r>
            <a:r>
              <a:rPr sz="1500" dirty="0">
                <a:latin typeface="Arial"/>
                <a:cs typeface="Arial"/>
              </a:rPr>
              <a:t>forms of output </a:t>
            </a:r>
            <a:r>
              <a:rPr sz="1500" spc="-5" dirty="0">
                <a:latin typeface="Arial"/>
                <a:cs typeface="Arial"/>
              </a:rPr>
              <a:t>in </a:t>
            </a:r>
            <a:r>
              <a:rPr sz="1500" dirty="0">
                <a:latin typeface="Arial"/>
                <a:cs typeface="Arial"/>
              </a:rPr>
              <a:t>the </a:t>
            </a:r>
            <a:r>
              <a:rPr sz="1500" spc="-5" dirty="0">
                <a:latin typeface="Arial"/>
                <a:cs typeface="Arial"/>
              </a:rPr>
              <a:t>SAP</a:t>
            </a:r>
            <a:r>
              <a:rPr sz="1500" spc="-170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system.</a:t>
            </a:r>
            <a:endParaRPr sz="1500">
              <a:latin typeface="Arial"/>
              <a:cs typeface="Arial"/>
            </a:endParaRPr>
          </a:p>
          <a:p>
            <a:pPr marL="12700" marR="59690">
              <a:lnSpc>
                <a:spcPct val="100000"/>
              </a:lnSpc>
            </a:pPr>
            <a:r>
              <a:rPr sz="1500" spc="-5" dirty="0">
                <a:latin typeface="Arial"/>
                <a:cs typeface="Arial"/>
              </a:rPr>
              <a:t>Examples </a:t>
            </a:r>
            <a:r>
              <a:rPr sz="1500" dirty="0">
                <a:latin typeface="Arial"/>
                <a:cs typeface="Arial"/>
              </a:rPr>
              <a:t>of output </a:t>
            </a:r>
            <a:r>
              <a:rPr sz="1500" spc="-5" dirty="0">
                <a:latin typeface="Arial"/>
                <a:cs typeface="Arial"/>
              </a:rPr>
              <a:t>types in Sales and </a:t>
            </a:r>
            <a:r>
              <a:rPr sz="1500" dirty="0">
                <a:latin typeface="Arial"/>
                <a:cs typeface="Arial"/>
              </a:rPr>
              <a:t>Distribution processing </a:t>
            </a:r>
            <a:r>
              <a:rPr sz="1500" spc="-5" dirty="0">
                <a:latin typeface="Arial"/>
                <a:cs typeface="Arial"/>
              </a:rPr>
              <a:t>are </a:t>
            </a:r>
            <a:r>
              <a:rPr sz="1500" dirty="0">
                <a:latin typeface="Arial"/>
                <a:cs typeface="Arial"/>
              </a:rPr>
              <a:t>order  confirmations, freight lists, </a:t>
            </a:r>
            <a:r>
              <a:rPr sz="1500" spc="-5" dirty="0">
                <a:latin typeface="Arial"/>
                <a:cs typeface="Arial"/>
              </a:rPr>
              <a:t>and</a:t>
            </a:r>
            <a:r>
              <a:rPr sz="1500" spc="-155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invoices.</a:t>
            </a:r>
            <a:endParaRPr sz="1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317235" y="900683"/>
            <a:ext cx="377951" cy="3825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67868" y="1229867"/>
            <a:ext cx="377952" cy="3825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561846" y="184403"/>
            <a:ext cx="5133340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 smtClean="0"/>
              <a:t>Utilities</a:t>
            </a:r>
            <a:r>
              <a:rPr lang="en-US" dirty="0" smtClean="0"/>
              <a:t>                              </a:t>
            </a:r>
            <a:r>
              <a:rPr sz="1800" spc="-5" dirty="0" smtClean="0"/>
              <a:t>Important SD basic </a:t>
            </a:r>
            <a:r>
              <a:rPr sz="1800" dirty="0" smtClean="0"/>
              <a:t>functions</a:t>
            </a:r>
            <a:r>
              <a:rPr sz="1800" spc="-30" dirty="0" smtClean="0"/>
              <a:t> </a:t>
            </a:r>
            <a:r>
              <a:rPr sz="1800" dirty="0" smtClean="0"/>
              <a:t>continued…….:</a:t>
            </a:r>
            <a:endParaRPr sz="1800" dirty="0"/>
          </a:p>
        </p:txBody>
      </p:sp>
      <p:sp>
        <p:nvSpPr>
          <p:cNvPr id="8" name="object 8"/>
          <p:cNvSpPr/>
          <p:nvPr/>
        </p:nvSpPr>
        <p:spPr>
          <a:xfrm>
            <a:off x="303275" y="2657855"/>
            <a:ext cx="902208" cy="2758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03275" y="2836164"/>
            <a:ext cx="1388364" cy="27584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3275" y="3953255"/>
            <a:ext cx="1283208" cy="2804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03275" y="5233415"/>
            <a:ext cx="1833372" cy="2804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03275" y="5431535"/>
            <a:ext cx="1008888" cy="28041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080516" y="5431535"/>
            <a:ext cx="281940" cy="28041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4" name="object 14"/>
          <p:cNvGraphicFramePr>
            <a:graphicFrameLocks noGrp="1"/>
          </p:cNvGraphicFramePr>
          <p:nvPr/>
        </p:nvGraphicFramePr>
        <p:xfrm>
          <a:off x="311150" y="1395475"/>
          <a:ext cx="8293100" cy="49224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0126"/>
                <a:gridCol w="6522974"/>
              </a:tblGrid>
              <a:tr h="12801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300" b="1" spc="-5" dirty="0">
                          <a:latin typeface="Arial"/>
                          <a:cs typeface="Arial"/>
                        </a:rPr>
                        <a:t>Free</a:t>
                      </a:r>
                      <a:r>
                        <a:rPr sz="1300" b="1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spc="-5" dirty="0">
                          <a:latin typeface="Arial"/>
                          <a:cs typeface="Arial"/>
                        </a:rPr>
                        <a:t>Goods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7716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If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grant free goods to a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customer,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an implement automatic free goods  determination.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system automatically create a free goods item in the sales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order. 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item is free of charge. For inclusive free goods, the main item is automatically  reduced by the free goods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quantity.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exclusive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free goods, the quantity of the main  item remains the same, and customer receives additional pieces as an additional free  of charge</a:t>
                      </a:r>
                      <a:r>
                        <a:rPr sz="13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item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280159">
                <a:tc>
                  <a:txBody>
                    <a:bodyPr/>
                    <a:lstStyle/>
                    <a:p>
                      <a:pPr marL="85090" marR="558800">
                        <a:lnSpc>
                          <a:spcPts val="1400"/>
                        </a:lnSpc>
                        <a:spcBef>
                          <a:spcPts val="250"/>
                        </a:spcBef>
                      </a:pPr>
                      <a:r>
                        <a:rPr sz="1300" b="1" spc="-5" dirty="0">
                          <a:latin typeface="Arial"/>
                          <a:cs typeface="Arial"/>
                        </a:rPr>
                        <a:t>Material 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etermin</a:t>
                      </a:r>
                      <a:r>
                        <a:rPr sz="1300" b="1" spc="-5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tion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0541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In the standard order processing cycle, a customer requests a specific product that 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hen ship. In 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reality,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however,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here are situation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ere you want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o substitute the  product ordered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it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n alternative, for example a product that is repackaged for  Christmas, or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it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 free sample or coupon. Material determination uses condition 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technique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automatically swap one material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another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the sales 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en 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ertain conditions</a:t>
                      </a:r>
                      <a:r>
                        <a:rPr sz="1300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apply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280033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300" b="1" spc="-5" dirty="0">
                          <a:latin typeface="Arial"/>
                          <a:cs typeface="Arial"/>
                        </a:rPr>
                        <a:t>Cross</a:t>
                      </a:r>
                      <a:r>
                        <a:rPr sz="1300" b="1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spc="-5" dirty="0">
                          <a:latin typeface="Arial"/>
                          <a:cs typeface="Arial"/>
                        </a:rPr>
                        <a:t>Selling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6924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Retailers frequently use cross selling to increase sales. </a:t>
                      </a:r>
                      <a:r>
                        <a:rPr sz="1300" spc="5" dirty="0">
                          <a:latin typeface="Arial"/>
                          <a:cs typeface="Arial"/>
                        </a:rPr>
                        <a:t>When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 customer orders an  article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over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he phone, the order taker can suggest additional articles that the  customer might 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buy.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For example, if the customer orders a VCR,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might suggest  purchasing some blank tapes; for a cellular phone, a leather carrying case. Dynamic  product proposal allow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o automatically propose additional items to a specific  customer from a list of products during sales document</a:t>
                      </a:r>
                      <a:r>
                        <a:rPr sz="1300" spc="2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rocessing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082103">
                <a:tc>
                  <a:txBody>
                    <a:bodyPr/>
                    <a:lstStyle/>
                    <a:p>
                      <a:pPr marL="85090" marR="11176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300" b="1" spc="-5" dirty="0">
                          <a:latin typeface="Arial"/>
                          <a:cs typeface="Arial"/>
                        </a:rPr>
                        <a:t>Material Listing and  </a:t>
                      </a:r>
                      <a:r>
                        <a:rPr sz="1300" b="1" spc="-10" dirty="0">
                          <a:latin typeface="Arial"/>
                          <a:cs typeface="Arial"/>
                        </a:rPr>
                        <a:t>Exclusion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9748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Material listing and exclusion let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ontrol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materials specific customers may  or may not 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buy.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For example, if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reate a material listing for a specific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customer, 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the customer can only order products from that list. </a:t>
                      </a:r>
                      <a:r>
                        <a:rPr sz="1300" spc="-5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can also create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master 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record for material exclusion for a particular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customer.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Then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he customer can not  order excluded materials from</a:t>
                      </a:r>
                      <a:r>
                        <a:rPr sz="1300" spc="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967728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tandard Processes in</a:t>
            </a:r>
            <a:r>
              <a:rPr spc="-50" dirty="0"/>
              <a:t> </a:t>
            </a:r>
            <a:r>
              <a:rPr dirty="0"/>
              <a:t>SD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457200" y="2563876"/>
            <a:ext cx="1554480" cy="3656329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7465" rIns="0" bIns="0" rtlCol="0">
            <a:spAutoFit/>
          </a:bodyPr>
          <a:lstStyle/>
          <a:p>
            <a:pPr marL="91440" marR="155575">
              <a:lnSpc>
                <a:spcPct val="100000"/>
              </a:lnSpc>
              <a:spcBef>
                <a:spcPts val="295"/>
              </a:spcBef>
            </a:pPr>
            <a:r>
              <a:rPr sz="1800" b="1" spc="-5" dirty="0">
                <a:latin typeface="Times New Roman"/>
                <a:cs typeface="Times New Roman"/>
              </a:rPr>
              <a:t>A customer’s  inquiry</a:t>
            </a:r>
            <a:r>
              <a:rPr sz="1800" b="1" spc="-9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(even  if </a:t>
            </a:r>
            <a:r>
              <a:rPr sz="1800" b="1" spc="-5" dirty="0">
                <a:latin typeface="Times New Roman"/>
                <a:cs typeface="Times New Roman"/>
              </a:rPr>
              <a:t>telephonic)  is created in  the</a:t>
            </a:r>
            <a:r>
              <a:rPr sz="1800" b="1" spc="-10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system.</a:t>
            </a:r>
            <a:endParaRPr sz="1800">
              <a:latin typeface="Times New Roman"/>
              <a:cs typeface="Times New Roman"/>
            </a:endParaRPr>
          </a:p>
          <a:p>
            <a:pPr marL="91440" marR="262255">
              <a:lnSpc>
                <a:spcPct val="100000"/>
              </a:lnSpc>
            </a:pPr>
            <a:r>
              <a:rPr sz="1800" b="1" dirty="0">
                <a:latin typeface="Times New Roman"/>
                <a:cs typeface="Times New Roman"/>
              </a:rPr>
              <a:t>If </a:t>
            </a:r>
            <a:r>
              <a:rPr sz="1800" b="1" spc="-5" dirty="0">
                <a:latin typeface="Times New Roman"/>
                <a:cs typeface="Times New Roman"/>
              </a:rPr>
              <a:t>the  </a:t>
            </a:r>
            <a:r>
              <a:rPr sz="1800" b="1" dirty="0">
                <a:latin typeface="Times New Roman"/>
                <a:cs typeface="Times New Roman"/>
              </a:rPr>
              <a:t>customer  </a:t>
            </a:r>
            <a:r>
              <a:rPr sz="1800" b="1" spc="-5" dirty="0">
                <a:latin typeface="Times New Roman"/>
                <a:cs typeface="Times New Roman"/>
              </a:rPr>
              <a:t>requests </a:t>
            </a:r>
            <a:r>
              <a:rPr sz="1800" b="1" dirty="0">
                <a:latin typeface="Times New Roman"/>
                <a:cs typeface="Times New Roman"/>
              </a:rPr>
              <a:t>a  </a:t>
            </a:r>
            <a:r>
              <a:rPr sz="1800" b="1" spc="-5" dirty="0">
                <a:latin typeface="Times New Roman"/>
                <a:cs typeface="Times New Roman"/>
              </a:rPr>
              <a:t>quotation,</a:t>
            </a:r>
            <a:r>
              <a:rPr sz="1800" b="1" spc="-6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it  can be  </a:t>
            </a:r>
            <a:r>
              <a:rPr sz="1800" b="1" spc="-5" dirty="0">
                <a:latin typeface="Times New Roman"/>
                <a:cs typeface="Times New Roman"/>
              </a:rPr>
              <a:t>created </a:t>
            </a:r>
            <a:r>
              <a:rPr sz="1800" b="1" dirty="0">
                <a:latin typeface="Times New Roman"/>
                <a:cs typeface="Times New Roman"/>
              </a:rPr>
              <a:t>by  </a:t>
            </a:r>
            <a:r>
              <a:rPr sz="1800" b="1" spc="-5" dirty="0">
                <a:latin typeface="Times New Roman"/>
                <a:cs typeface="Times New Roman"/>
              </a:rPr>
              <a:t>referring </a:t>
            </a:r>
            <a:r>
              <a:rPr sz="1800" b="1" dirty="0">
                <a:latin typeface="Times New Roman"/>
                <a:cs typeface="Times New Roman"/>
              </a:rPr>
              <a:t>to  the</a:t>
            </a:r>
            <a:r>
              <a:rPr sz="1800" b="1" spc="-100" dirty="0">
                <a:latin typeface="Times New Roman"/>
                <a:cs typeface="Times New Roman"/>
              </a:rPr>
              <a:t> </a:t>
            </a:r>
            <a:r>
              <a:rPr sz="1800" b="1" spc="-15" dirty="0">
                <a:latin typeface="Times New Roman"/>
                <a:cs typeface="Times New Roman"/>
              </a:rPr>
              <a:t>inquiry.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056501" y="2563876"/>
            <a:ext cx="1554480" cy="3656329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8100" rIns="0" bIns="0" rtlCol="0">
            <a:spAutoFit/>
          </a:bodyPr>
          <a:lstStyle/>
          <a:p>
            <a:pPr marL="92075" marR="177165">
              <a:lnSpc>
                <a:spcPct val="100000"/>
              </a:lnSpc>
              <a:spcBef>
                <a:spcPts val="300"/>
              </a:spcBef>
            </a:pPr>
            <a:r>
              <a:rPr sz="1800" b="1" dirty="0">
                <a:latin typeface="Times New Roman"/>
                <a:cs typeface="Times New Roman"/>
              </a:rPr>
              <a:t>After  </a:t>
            </a:r>
            <a:r>
              <a:rPr sz="1800" b="1" spc="-10" dirty="0">
                <a:latin typeface="Times New Roman"/>
                <a:cs typeface="Times New Roman"/>
              </a:rPr>
              <a:t>delivery, </a:t>
            </a:r>
            <a:r>
              <a:rPr sz="1800" b="1" dirty="0">
                <a:latin typeface="Times New Roman"/>
                <a:cs typeface="Times New Roman"/>
              </a:rPr>
              <a:t>the  customer  claims </a:t>
            </a:r>
            <a:r>
              <a:rPr sz="1800" b="1" spc="-5" dirty="0">
                <a:latin typeface="Times New Roman"/>
                <a:cs typeface="Times New Roman"/>
              </a:rPr>
              <a:t>credit  </a:t>
            </a:r>
            <a:r>
              <a:rPr sz="1800" b="1" dirty="0">
                <a:latin typeface="Times New Roman"/>
                <a:cs typeface="Times New Roman"/>
              </a:rPr>
              <a:t>for damaged  goods </a:t>
            </a:r>
            <a:r>
              <a:rPr sz="1800" b="1" spc="-5" dirty="0">
                <a:latin typeface="Times New Roman"/>
                <a:cs typeface="Times New Roman"/>
              </a:rPr>
              <a:t>and  </a:t>
            </a:r>
            <a:r>
              <a:rPr sz="1800" b="1" dirty="0">
                <a:latin typeface="Times New Roman"/>
                <a:cs typeface="Times New Roman"/>
              </a:rPr>
              <a:t>you </a:t>
            </a:r>
            <a:r>
              <a:rPr sz="1800" b="1" spc="-5" dirty="0">
                <a:latin typeface="Times New Roman"/>
                <a:cs typeface="Times New Roman"/>
              </a:rPr>
              <a:t>create </a:t>
            </a:r>
            <a:r>
              <a:rPr sz="1800" b="1" dirty="0">
                <a:latin typeface="Times New Roman"/>
                <a:cs typeface="Times New Roman"/>
              </a:rPr>
              <a:t>a  </a:t>
            </a:r>
            <a:r>
              <a:rPr sz="1800" b="1" spc="-5" dirty="0">
                <a:latin typeface="Times New Roman"/>
                <a:cs typeface="Times New Roman"/>
              </a:rPr>
              <a:t>free-of-  </a:t>
            </a:r>
            <a:r>
              <a:rPr sz="1800" b="1" dirty="0">
                <a:latin typeface="Times New Roman"/>
                <a:cs typeface="Times New Roman"/>
              </a:rPr>
              <a:t>charge  delivery</a:t>
            </a:r>
            <a:r>
              <a:rPr sz="1800" b="1" spc="-110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with  </a:t>
            </a:r>
            <a:r>
              <a:rPr sz="1800" b="1" spc="-10" dirty="0">
                <a:latin typeface="Times New Roman"/>
                <a:cs typeface="Times New Roman"/>
              </a:rPr>
              <a:t>reference </a:t>
            </a:r>
            <a:r>
              <a:rPr sz="1800" b="1" dirty="0">
                <a:latin typeface="Times New Roman"/>
                <a:cs typeface="Times New Roman"/>
              </a:rPr>
              <a:t>to  </a:t>
            </a:r>
            <a:r>
              <a:rPr sz="1800" b="1" spc="-5" dirty="0">
                <a:latin typeface="Times New Roman"/>
                <a:cs typeface="Times New Roman"/>
              </a:rPr>
              <a:t>the sales  </a:t>
            </a:r>
            <a:r>
              <a:rPr sz="1800" b="1" spc="-30" dirty="0">
                <a:latin typeface="Times New Roman"/>
                <a:cs typeface="Times New Roman"/>
              </a:rPr>
              <a:t>order.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57200" y="1219200"/>
            <a:ext cx="8153400" cy="119062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8100" rIns="0" bIns="0" rtlCol="0">
            <a:spAutoFit/>
          </a:bodyPr>
          <a:lstStyle/>
          <a:p>
            <a:pPr marL="91440" marR="1007110">
              <a:lnSpc>
                <a:spcPct val="100000"/>
              </a:lnSpc>
              <a:spcBef>
                <a:spcPts val="300"/>
              </a:spcBef>
            </a:pPr>
            <a:r>
              <a:rPr sz="1800" b="1" spc="-5" dirty="0">
                <a:latin typeface="Times New Roman"/>
                <a:cs typeface="Times New Roman"/>
              </a:rPr>
              <a:t>The </a:t>
            </a:r>
            <a:r>
              <a:rPr sz="1800" b="1" dirty="0">
                <a:latin typeface="Times New Roman"/>
                <a:cs typeface="Times New Roman"/>
              </a:rPr>
              <a:t>customer may later place </a:t>
            </a:r>
            <a:r>
              <a:rPr sz="1800" b="1" spc="-5" dirty="0">
                <a:latin typeface="Times New Roman"/>
                <a:cs typeface="Times New Roman"/>
              </a:rPr>
              <a:t>an </a:t>
            </a:r>
            <a:r>
              <a:rPr sz="1800" b="1" dirty="0">
                <a:latin typeface="Times New Roman"/>
                <a:cs typeface="Times New Roman"/>
              </a:rPr>
              <a:t>order </a:t>
            </a:r>
            <a:r>
              <a:rPr sz="1800" b="1" spc="-5" dirty="0">
                <a:latin typeface="Times New Roman"/>
                <a:cs typeface="Times New Roman"/>
              </a:rPr>
              <a:t>and </a:t>
            </a:r>
            <a:r>
              <a:rPr sz="1800" b="1" dirty="0">
                <a:latin typeface="Times New Roman"/>
                <a:cs typeface="Times New Roman"/>
              </a:rPr>
              <a:t>you </a:t>
            </a:r>
            <a:r>
              <a:rPr sz="1800" b="1" spc="-5" dirty="0">
                <a:latin typeface="Times New Roman"/>
                <a:cs typeface="Times New Roman"/>
              </a:rPr>
              <a:t>create </a:t>
            </a:r>
            <a:r>
              <a:rPr sz="1800" b="1" dirty="0">
                <a:latin typeface="Times New Roman"/>
                <a:cs typeface="Times New Roman"/>
              </a:rPr>
              <a:t>a </a:t>
            </a:r>
            <a:r>
              <a:rPr sz="1800" b="1" spc="-5" dirty="0">
                <a:latin typeface="Times New Roman"/>
                <a:cs typeface="Times New Roman"/>
              </a:rPr>
              <a:t>sales </a:t>
            </a:r>
            <a:r>
              <a:rPr sz="1800" b="1" dirty="0">
                <a:latin typeface="Times New Roman"/>
                <a:cs typeface="Times New Roman"/>
              </a:rPr>
              <a:t>order</a:t>
            </a:r>
            <a:r>
              <a:rPr sz="1800" b="1" spc="-200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with  </a:t>
            </a:r>
            <a:r>
              <a:rPr sz="1800" b="1" spc="-10" dirty="0">
                <a:latin typeface="Times New Roman"/>
                <a:cs typeface="Times New Roman"/>
              </a:rPr>
              <a:t>reference </a:t>
            </a:r>
            <a:r>
              <a:rPr sz="1800" b="1" dirty="0">
                <a:latin typeface="Times New Roman"/>
                <a:cs typeface="Times New Roman"/>
              </a:rPr>
              <a:t>to </a:t>
            </a:r>
            <a:r>
              <a:rPr sz="1800" b="1" spc="-5" dirty="0">
                <a:latin typeface="Times New Roman"/>
                <a:cs typeface="Times New Roman"/>
              </a:rPr>
              <a:t>the quotation. </a:t>
            </a:r>
            <a:r>
              <a:rPr sz="1800" b="1" spc="-75" dirty="0">
                <a:latin typeface="Times New Roman"/>
                <a:cs typeface="Times New Roman"/>
              </a:rPr>
              <a:t>You </a:t>
            </a:r>
            <a:r>
              <a:rPr sz="1800" b="1" spc="-5" dirty="0">
                <a:latin typeface="Times New Roman"/>
                <a:cs typeface="Times New Roman"/>
              </a:rPr>
              <a:t>ship the goods by creating </a:t>
            </a:r>
            <a:r>
              <a:rPr sz="1800" b="1" dirty="0">
                <a:latin typeface="Times New Roman"/>
                <a:cs typeface="Times New Roman"/>
              </a:rPr>
              <a:t>a</a:t>
            </a:r>
            <a:r>
              <a:rPr sz="1800" b="1" spc="95" dirty="0">
                <a:latin typeface="Times New Roman"/>
                <a:cs typeface="Times New Roman"/>
              </a:rPr>
              <a:t> </a:t>
            </a:r>
            <a:r>
              <a:rPr sz="1800" b="1" spc="-10" dirty="0">
                <a:latin typeface="Times New Roman"/>
                <a:cs typeface="Times New Roman"/>
              </a:rPr>
              <a:t>delivery.</a:t>
            </a:r>
            <a:endParaRPr sz="1800">
              <a:latin typeface="Times New Roman"/>
              <a:cs typeface="Times New Roman"/>
            </a:endParaRPr>
          </a:p>
          <a:p>
            <a:pPr marL="91440" marR="1167130">
              <a:lnSpc>
                <a:spcPct val="100000"/>
              </a:lnSpc>
            </a:pPr>
            <a:r>
              <a:rPr sz="1800" b="1" spc="-5" dirty="0">
                <a:latin typeface="Times New Roman"/>
                <a:cs typeface="Times New Roman"/>
              </a:rPr>
              <a:t>The </a:t>
            </a:r>
            <a:r>
              <a:rPr sz="1800" b="1" dirty="0">
                <a:latin typeface="Times New Roman"/>
                <a:cs typeface="Times New Roman"/>
              </a:rPr>
              <a:t>customer </a:t>
            </a:r>
            <a:r>
              <a:rPr sz="1800" b="1" spc="-5" dirty="0">
                <a:latin typeface="Times New Roman"/>
                <a:cs typeface="Times New Roman"/>
              </a:rPr>
              <a:t>is </a:t>
            </a:r>
            <a:r>
              <a:rPr sz="1800" b="1" dirty="0">
                <a:latin typeface="Times New Roman"/>
                <a:cs typeface="Times New Roman"/>
              </a:rPr>
              <a:t>billed </a:t>
            </a:r>
            <a:r>
              <a:rPr sz="1800" b="1" spc="-5" dirty="0">
                <a:latin typeface="Times New Roman"/>
                <a:cs typeface="Times New Roman"/>
              </a:rPr>
              <a:t>by creating and Invoice referring </a:t>
            </a:r>
            <a:r>
              <a:rPr sz="1800" b="1" dirty="0">
                <a:latin typeface="Times New Roman"/>
                <a:cs typeface="Times New Roman"/>
              </a:rPr>
              <a:t>to </a:t>
            </a:r>
            <a:r>
              <a:rPr sz="1800" b="1" spc="-5" dirty="0">
                <a:latin typeface="Times New Roman"/>
                <a:cs typeface="Times New Roman"/>
              </a:rPr>
              <a:t>the delivery  </a:t>
            </a:r>
            <a:r>
              <a:rPr sz="1800" b="1" dirty="0">
                <a:latin typeface="Times New Roman"/>
                <a:cs typeface="Times New Roman"/>
              </a:rPr>
              <a:t>document.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443860" y="2797301"/>
            <a:ext cx="4033139" cy="33463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96900" y="1441958"/>
            <a:ext cx="7766050" cy="4537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231140" indent="-342900">
              <a:lnSpc>
                <a:spcPct val="9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b="1" dirty="0">
                <a:latin typeface="Arial"/>
                <a:cs typeface="Arial"/>
              </a:rPr>
              <a:t>It </a:t>
            </a:r>
            <a:r>
              <a:rPr sz="1800" b="1" spc="-5" dirty="0">
                <a:latin typeface="Arial"/>
                <a:cs typeface="Arial"/>
              </a:rPr>
              <a:t>is possibl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create a Sales </a:t>
            </a:r>
            <a:r>
              <a:rPr sz="1800" b="1" dirty="0">
                <a:latin typeface="Arial"/>
                <a:cs typeface="Arial"/>
              </a:rPr>
              <a:t>Order by </a:t>
            </a:r>
            <a:r>
              <a:rPr sz="1800" b="1" spc="-5" dirty="0">
                <a:latin typeface="Arial"/>
                <a:cs typeface="Arial"/>
              </a:rPr>
              <a:t>referring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a </a:t>
            </a:r>
            <a:r>
              <a:rPr sz="1800" b="1" dirty="0">
                <a:latin typeface="Arial"/>
                <a:cs typeface="Arial"/>
              </a:rPr>
              <a:t>Quotation </a:t>
            </a:r>
            <a:r>
              <a:rPr sz="1800" b="1" spc="-5" dirty="0">
                <a:latin typeface="Arial"/>
                <a:cs typeface="Arial"/>
              </a:rPr>
              <a:t>or  also </a:t>
            </a:r>
            <a:r>
              <a:rPr sz="1800" b="1" spc="-10" dirty="0">
                <a:latin typeface="Arial"/>
                <a:cs typeface="Arial"/>
              </a:rPr>
              <a:t>as an </a:t>
            </a:r>
            <a:r>
              <a:rPr sz="1800" b="1" dirty="0">
                <a:latin typeface="Arial"/>
                <a:cs typeface="Arial"/>
              </a:rPr>
              <a:t>independent </a:t>
            </a:r>
            <a:r>
              <a:rPr sz="1800" b="1" spc="-5" dirty="0">
                <a:latin typeface="Arial"/>
                <a:cs typeface="Arial"/>
              </a:rPr>
              <a:t>document. </a:t>
            </a:r>
            <a:r>
              <a:rPr sz="1800" b="1" dirty="0">
                <a:latin typeface="Arial"/>
                <a:cs typeface="Arial"/>
              </a:rPr>
              <a:t>When </a:t>
            </a:r>
            <a:r>
              <a:rPr sz="1800" b="1" spc="-10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create Sales </a:t>
            </a:r>
            <a:r>
              <a:rPr sz="1800" b="1" dirty="0">
                <a:latin typeface="Arial"/>
                <a:cs typeface="Arial"/>
              </a:rPr>
              <a:t>Order  </a:t>
            </a:r>
            <a:r>
              <a:rPr sz="1800" b="1" spc="5" dirty="0">
                <a:latin typeface="Arial"/>
                <a:cs typeface="Arial"/>
              </a:rPr>
              <a:t>with </a:t>
            </a:r>
            <a:r>
              <a:rPr sz="1800" b="1" spc="-5" dirty="0">
                <a:latin typeface="Arial"/>
                <a:cs typeface="Arial"/>
              </a:rPr>
              <a:t>referenc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an existing </a:t>
            </a:r>
            <a:r>
              <a:rPr sz="1800" b="1" dirty="0">
                <a:latin typeface="Arial"/>
                <a:cs typeface="Arial"/>
              </a:rPr>
              <a:t>Quotation, 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spc="-5" dirty="0">
                <a:latin typeface="Arial"/>
                <a:cs typeface="Arial"/>
              </a:rPr>
              <a:t>automatically  copies all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10" dirty="0">
                <a:latin typeface="Arial"/>
                <a:cs typeface="Arial"/>
              </a:rPr>
              <a:t>relevant </a:t>
            </a:r>
            <a:r>
              <a:rPr sz="1800" b="1" spc="-5" dirty="0">
                <a:latin typeface="Arial"/>
                <a:cs typeface="Arial"/>
              </a:rPr>
              <a:t>information (customer </a:t>
            </a:r>
            <a:r>
              <a:rPr sz="1800" b="1" dirty="0">
                <a:latin typeface="Arial"/>
                <a:cs typeface="Arial"/>
              </a:rPr>
              <a:t>info, </a:t>
            </a:r>
            <a:r>
              <a:rPr sz="1800" b="1" spc="-5" dirty="0">
                <a:latin typeface="Arial"/>
                <a:cs typeface="Arial"/>
              </a:rPr>
              <a:t>materials,  </a:t>
            </a:r>
            <a:r>
              <a:rPr sz="1800" b="1" dirty="0">
                <a:latin typeface="Arial"/>
                <a:cs typeface="Arial"/>
              </a:rPr>
              <a:t>quantities, </a:t>
            </a:r>
            <a:r>
              <a:rPr sz="1800" b="1" spc="-5" dirty="0">
                <a:latin typeface="Arial"/>
                <a:cs typeface="Arial"/>
              </a:rPr>
              <a:t>etc) from </a:t>
            </a:r>
            <a:r>
              <a:rPr sz="1800" b="1" dirty="0">
                <a:latin typeface="Arial"/>
                <a:cs typeface="Arial"/>
              </a:rPr>
              <a:t>Quotation to </a:t>
            </a:r>
            <a:r>
              <a:rPr sz="1800" b="1" spc="-5" dirty="0">
                <a:latin typeface="Arial"/>
                <a:cs typeface="Arial"/>
              </a:rPr>
              <a:t>a Sales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spc="-20" dirty="0">
                <a:latin typeface="Arial"/>
                <a:cs typeface="Arial"/>
              </a:rPr>
              <a:t>Order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5"/>
              </a:spcBef>
              <a:buFont typeface="Arial"/>
              <a:buChar char="•"/>
            </a:pPr>
            <a:endParaRPr sz="2400">
              <a:latin typeface="Times New Roman"/>
              <a:cs typeface="Times New Roman"/>
            </a:endParaRPr>
          </a:p>
          <a:p>
            <a:pPr marL="355600" marR="90805" indent="-342900">
              <a:lnSpc>
                <a:spcPct val="90000"/>
              </a:lnSpc>
              <a:buFont typeface="Arial"/>
              <a:buChar char="•"/>
              <a:tabLst>
                <a:tab pos="354965" algn="l"/>
                <a:tab pos="355600" algn="l"/>
                <a:tab pos="2012314" algn="l"/>
              </a:tabLst>
            </a:pPr>
            <a:r>
              <a:rPr sz="1800" b="1" spc="-5" dirty="0">
                <a:latin typeface="Arial"/>
                <a:cs typeface="Arial"/>
              </a:rPr>
              <a:t>Where </a:t>
            </a:r>
            <a:r>
              <a:rPr sz="1800" b="1" spc="-20" dirty="0">
                <a:latin typeface="Arial"/>
                <a:cs typeface="Arial"/>
              </a:rPr>
              <a:t>necessary, </a:t>
            </a:r>
            <a:r>
              <a:rPr sz="1800" b="1" spc="-5" dirty="0">
                <a:latin typeface="Arial"/>
                <a:cs typeface="Arial"/>
              </a:rPr>
              <a:t>a referenc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a preceding document can </a:t>
            </a:r>
            <a:r>
              <a:rPr sz="1800" b="1" dirty="0">
                <a:latin typeface="Arial"/>
                <a:cs typeface="Arial"/>
              </a:rPr>
              <a:t>be </a:t>
            </a:r>
            <a:r>
              <a:rPr sz="1800" b="1" spc="-5" dirty="0">
                <a:latin typeface="Arial"/>
                <a:cs typeface="Arial"/>
              </a:rPr>
              <a:t>set  as </a:t>
            </a:r>
            <a:r>
              <a:rPr sz="1800" b="1" spc="-20" dirty="0">
                <a:latin typeface="Arial"/>
                <a:cs typeface="Arial"/>
              </a:rPr>
              <a:t>mandatory.	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example, </a:t>
            </a:r>
            <a:r>
              <a:rPr sz="1800" b="1" spc="-10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may specify </a:t>
            </a:r>
            <a:r>
              <a:rPr sz="1800" b="1" dirty="0">
                <a:latin typeface="Arial"/>
                <a:cs typeface="Arial"/>
              </a:rPr>
              <a:t>that</a:t>
            </a:r>
            <a:r>
              <a:rPr sz="1800" b="1" spc="5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eturns</a:t>
            </a:r>
            <a:r>
              <a:rPr sz="1800" b="1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Order </a:t>
            </a:r>
            <a:r>
              <a:rPr sz="1800" b="1" dirty="0">
                <a:latin typeface="Arial"/>
                <a:cs typeface="Arial"/>
              </a:rPr>
              <a:t> should always </a:t>
            </a:r>
            <a:r>
              <a:rPr sz="1800" b="1" spc="-5" dirty="0">
                <a:latin typeface="Arial"/>
                <a:cs typeface="Arial"/>
              </a:rPr>
              <a:t>be created </a:t>
            </a:r>
            <a:r>
              <a:rPr sz="1800" b="1" spc="10" dirty="0">
                <a:latin typeface="Arial"/>
                <a:cs typeface="Arial"/>
              </a:rPr>
              <a:t>with </a:t>
            </a:r>
            <a:r>
              <a:rPr sz="1800" b="1" spc="-5" dirty="0">
                <a:latin typeface="Arial"/>
                <a:cs typeface="Arial"/>
              </a:rPr>
              <a:t>referenc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10" dirty="0">
                <a:latin typeface="Arial"/>
                <a:cs typeface="Arial"/>
              </a:rPr>
              <a:t>an </a:t>
            </a:r>
            <a:r>
              <a:rPr sz="1800" b="1" spc="-5" dirty="0">
                <a:latin typeface="Arial"/>
                <a:cs typeface="Arial"/>
              </a:rPr>
              <a:t>existing Sales </a:t>
            </a:r>
            <a:r>
              <a:rPr sz="1800" b="1" spc="-20" dirty="0">
                <a:latin typeface="Arial"/>
                <a:cs typeface="Arial"/>
              </a:rPr>
              <a:t>Order,  </a:t>
            </a:r>
            <a:r>
              <a:rPr sz="1800" b="1" spc="-5" dirty="0">
                <a:latin typeface="Arial"/>
                <a:cs typeface="Arial"/>
              </a:rPr>
              <a:t>etc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Font typeface="Arial"/>
              <a:buChar char="•"/>
            </a:pPr>
            <a:endParaRPr sz="2450">
              <a:latin typeface="Times New Roman"/>
              <a:cs typeface="Times New Roman"/>
            </a:endParaRPr>
          </a:p>
          <a:p>
            <a:pPr marL="355600" marR="546100" indent="-342900">
              <a:lnSpc>
                <a:spcPts val="1939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b="1" spc="-5" dirty="0">
                <a:latin typeface="Arial"/>
                <a:cs typeface="Arial"/>
              </a:rPr>
              <a:t>Customer complaints </a:t>
            </a:r>
            <a:r>
              <a:rPr sz="1800" b="1" dirty="0">
                <a:latin typeface="Arial"/>
                <a:cs typeface="Arial"/>
              </a:rPr>
              <a:t>about </a:t>
            </a:r>
            <a:r>
              <a:rPr sz="1800" b="1" spc="-5" dirty="0">
                <a:latin typeface="Arial"/>
                <a:cs typeface="Arial"/>
              </a:rPr>
              <a:t>damaged </a:t>
            </a:r>
            <a:r>
              <a:rPr sz="1800" b="1" dirty="0">
                <a:latin typeface="Arial"/>
                <a:cs typeface="Arial"/>
              </a:rPr>
              <a:t>products </a:t>
            </a:r>
            <a:r>
              <a:rPr sz="1800" b="1" spc="-5" dirty="0">
                <a:latin typeface="Arial"/>
                <a:cs typeface="Arial"/>
              </a:rPr>
              <a:t>can be </a:t>
            </a:r>
            <a:r>
              <a:rPr sz="1800" b="1" dirty="0">
                <a:latin typeface="Arial"/>
                <a:cs typeface="Arial"/>
              </a:rPr>
              <a:t>handled  through </a:t>
            </a:r>
            <a:r>
              <a:rPr sz="1800" b="1" spc="-5" dirty="0">
                <a:latin typeface="Arial"/>
                <a:cs typeface="Arial"/>
              </a:rPr>
              <a:t>subsequent free delivery or also </a:t>
            </a:r>
            <a:r>
              <a:rPr sz="1800" b="1" spc="-20" dirty="0">
                <a:latin typeface="Arial"/>
                <a:cs typeface="Arial"/>
              </a:rPr>
              <a:t>via </a:t>
            </a:r>
            <a:r>
              <a:rPr sz="1800" b="1" spc="-5" dirty="0">
                <a:latin typeface="Arial"/>
                <a:cs typeface="Arial"/>
              </a:rPr>
              <a:t>a Credit</a:t>
            </a:r>
            <a:r>
              <a:rPr sz="1800" b="1" spc="13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emo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Font typeface="Arial"/>
              <a:buChar char="•"/>
            </a:pPr>
            <a:endParaRPr sz="240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901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entire chain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documents –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20" dirty="0">
                <a:latin typeface="Arial"/>
                <a:cs typeface="Arial"/>
              </a:rPr>
              <a:t>inquiry, </a:t>
            </a:r>
            <a:r>
              <a:rPr sz="1800" b="1" dirty="0">
                <a:latin typeface="Arial"/>
                <a:cs typeface="Arial"/>
              </a:rPr>
              <a:t>the quotation, the </a:t>
            </a:r>
            <a:r>
              <a:rPr sz="1800" b="1" spc="-5" dirty="0">
                <a:latin typeface="Arial"/>
                <a:cs typeface="Arial"/>
              </a:rPr>
              <a:t>sales  </a:t>
            </a:r>
            <a:r>
              <a:rPr sz="1800" b="1" spc="-20" dirty="0">
                <a:latin typeface="Arial"/>
                <a:cs typeface="Arial"/>
              </a:rPr>
              <a:t>order,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25" dirty="0">
                <a:latin typeface="Arial"/>
                <a:cs typeface="Arial"/>
              </a:rPr>
              <a:t>delivery,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10" dirty="0">
                <a:latin typeface="Arial"/>
                <a:cs typeface="Arial"/>
              </a:rPr>
              <a:t>invoice, </a:t>
            </a:r>
            <a:r>
              <a:rPr sz="1800" b="1" dirty="0">
                <a:latin typeface="Arial"/>
                <a:cs typeface="Arial"/>
              </a:rPr>
              <a:t>and the </a:t>
            </a:r>
            <a:r>
              <a:rPr sz="1800" b="1" spc="-5" dirty="0">
                <a:latin typeface="Arial"/>
                <a:cs typeface="Arial"/>
              </a:rPr>
              <a:t>subsequent </a:t>
            </a:r>
            <a:r>
              <a:rPr sz="1800" b="1" spc="-10" dirty="0">
                <a:latin typeface="Arial"/>
                <a:cs typeface="Arial"/>
              </a:rPr>
              <a:t>delivery </a:t>
            </a:r>
            <a:r>
              <a:rPr sz="1800" b="1" spc="-5" dirty="0">
                <a:latin typeface="Arial"/>
                <a:cs typeface="Arial"/>
              </a:rPr>
              <a:t>free </a:t>
            </a:r>
            <a:r>
              <a:rPr sz="1800" b="1" dirty="0">
                <a:latin typeface="Arial"/>
                <a:cs typeface="Arial"/>
              </a:rPr>
              <a:t>of  </a:t>
            </a:r>
            <a:r>
              <a:rPr sz="1800" b="1" spc="-5" dirty="0">
                <a:latin typeface="Arial"/>
                <a:cs typeface="Arial"/>
              </a:rPr>
              <a:t>charge – creates a document </a:t>
            </a:r>
            <a:r>
              <a:rPr sz="1800" b="1" dirty="0">
                <a:latin typeface="Arial"/>
                <a:cs typeface="Arial"/>
              </a:rPr>
              <a:t>flow </a:t>
            </a:r>
            <a:r>
              <a:rPr sz="1800" b="1" spc="-5" dirty="0">
                <a:latin typeface="Arial"/>
                <a:cs typeface="Arial"/>
              </a:rPr>
              <a:t>or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spc="-20" dirty="0">
                <a:latin typeface="Arial"/>
                <a:cs typeface="Arial"/>
              </a:rPr>
              <a:t>history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967728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tandard Processes in</a:t>
            </a:r>
            <a:r>
              <a:rPr spc="-50" dirty="0"/>
              <a:t> </a:t>
            </a:r>
            <a:r>
              <a:rPr dirty="0"/>
              <a:t>SD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648200" y="1371600"/>
            <a:ext cx="3810000" cy="2209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648200" y="1371600"/>
            <a:ext cx="3810000" cy="2209800"/>
          </a:xfrm>
          <a:custGeom>
            <a:avLst/>
            <a:gdLst/>
            <a:ahLst/>
            <a:cxnLst/>
            <a:rect l="l" t="t" r="r" b="b"/>
            <a:pathLst>
              <a:path w="3810000" h="2209800">
                <a:moveTo>
                  <a:pt x="0" y="2209800"/>
                </a:moveTo>
                <a:lnTo>
                  <a:pt x="3810000" y="2209800"/>
                </a:lnTo>
                <a:lnTo>
                  <a:pt x="3810000" y="0"/>
                </a:lnTo>
                <a:lnTo>
                  <a:pt x="0" y="0"/>
                </a:lnTo>
                <a:lnTo>
                  <a:pt x="0" y="2209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882640" y="260604"/>
            <a:ext cx="886967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pecial Process in</a:t>
            </a:r>
            <a:r>
              <a:rPr spc="-55" dirty="0"/>
              <a:t> </a:t>
            </a:r>
            <a:r>
              <a:rPr spc="5" dirty="0"/>
              <a:t>SD</a:t>
            </a:r>
          </a:p>
        </p:txBody>
      </p:sp>
      <p:sp>
        <p:nvSpPr>
          <p:cNvPr id="7" name="object 7"/>
          <p:cNvSpPr/>
          <p:nvPr/>
        </p:nvSpPr>
        <p:spPr>
          <a:xfrm>
            <a:off x="4724400" y="1447800"/>
            <a:ext cx="914400" cy="609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15000" y="1714500"/>
            <a:ext cx="381000" cy="76200"/>
          </a:xfrm>
          <a:custGeom>
            <a:avLst/>
            <a:gdLst/>
            <a:ahLst/>
            <a:cxnLst/>
            <a:rect l="l" t="t" r="r" b="b"/>
            <a:pathLst>
              <a:path w="381000" h="76200">
                <a:moveTo>
                  <a:pt x="304800" y="0"/>
                </a:moveTo>
                <a:lnTo>
                  <a:pt x="304800" y="76200"/>
                </a:lnTo>
                <a:lnTo>
                  <a:pt x="368300" y="44450"/>
                </a:lnTo>
                <a:lnTo>
                  <a:pt x="317500" y="44450"/>
                </a:lnTo>
                <a:lnTo>
                  <a:pt x="317500" y="31750"/>
                </a:lnTo>
                <a:lnTo>
                  <a:pt x="368300" y="31750"/>
                </a:lnTo>
                <a:lnTo>
                  <a:pt x="304800" y="0"/>
                </a:lnTo>
                <a:close/>
              </a:path>
              <a:path w="381000" h="76200">
                <a:moveTo>
                  <a:pt x="304800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304800" y="44450"/>
                </a:lnTo>
                <a:lnTo>
                  <a:pt x="304800" y="31750"/>
                </a:lnTo>
                <a:close/>
              </a:path>
              <a:path w="381000" h="76200">
                <a:moveTo>
                  <a:pt x="368300" y="31750"/>
                </a:moveTo>
                <a:lnTo>
                  <a:pt x="317500" y="31750"/>
                </a:lnTo>
                <a:lnTo>
                  <a:pt x="317500" y="44450"/>
                </a:lnTo>
                <a:lnTo>
                  <a:pt x="368300" y="44450"/>
                </a:lnTo>
                <a:lnTo>
                  <a:pt x="381000" y="38100"/>
                </a:lnTo>
                <a:lnTo>
                  <a:pt x="3683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807328" y="1564894"/>
            <a:ext cx="164465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spc="0" dirty="0">
                <a:latin typeface="Times New Roman"/>
                <a:cs typeface="Times New Roman"/>
              </a:rPr>
              <a:t>PO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715000" y="18288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837173" y="1862073"/>
            <a:ext cx="63500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1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248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533400" y="0"/>
                </a:moveTo>
                <a:lnTo>
                  <a:pt x="0" y="0"/>
                </a:lnTo>
                <a:lnTo>
                  <a:pt x="0" y="426974"/>
                </a:lnTo>
                <a:lnTo>
                  <a:pt x="57054" y="441565"/>
                </a:lnTo>
                <a:lnTo>
                  <a:pt x="106097" y="449359"/>
                </a:lnTo>
                <a:lnTo>
                  <a:pt x="148584" y="451334"/>
                </a:lnTo>
                <a:lnTo>
                  <a:pt x="185973" y="448472"/>
                </a:lnTo>
                <a:lnTo>
                  <a:pt x="219720" y="441750"/>
                </a:lnTo>
                <a:lnTo>
                  <a:pt x="251283" y="432150"/>
                </a:lnTo>
                <a:lnTo>
                  <a:pt x="282116" y="420651"/>
                </a:lnTo>
                <a:lnTo>
                  <a:pt x="313679" y="408233"/>
                </a:lnTo>
                <a:lnTo>
                  <a:pt x="347426" y="395875"/>
                </a:lnTo>
                <a:lnTo>
                  <a:pt x="384815" y="384558"/>
                </a:lnTo>
                <a:lnTo>
                  <a:pt x="427302" y="375262"/>
                </a:lnTo>
                <a:lnTo>
                  <a:pt x="476345" y="368965"/>
                </a:lnTo>
                <a:lnTo>
                  <a:pt x="533400" y="366649"/>
                </a:lnTo>
                <a:lnTo>
                  <a:pt x="533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248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0" y="0"/>
                </a:moveTo>
                <a:lnTo>
                  <a:pt x="533400" y="0"/>
                </a:lnTo>
                <a:lnTo>
                  <a:pt x="533400" y="366649"/>
                </a:lnTo>
                <a:lnTo>
                  <a:pt x="476345" y="368965"/>
                </a:lnTo>
                <a:lnTo>
                  <a:pt x="427302" y="375262"/>
                </a:lnTo>
                <a:lnTo>
                  <a:pt x="384815" y="384558"/>
                </a:lnTo>
                <a:lnTo>
                  <a:pt x="347426" y="395875"/>
                </a:lnTo>
                <a:lnTo>
                  <a:pt x="313679" y="408233"/>
                </a:lnTo>
                <a:lnTo>
                  <a:pt x="282116" y="420651"/>
                </a:lnTo>
                <a:lnTo>
                  <a:pt x="251283" y="432150"/>
                </a:lnTo>
                <a:lnTo>
                  <a:pt x="219720" y="441750"/>
                </a:lnTo>
                <a:lnTo>
                  <a:pt x="185973" y="448472"/>
                </a:lnTo>
                <a:lnTo>
                  <a:pt x="148584" y="451334"/>
                </a:lnTo>
                <a:lnTo>
                  <a:pt x="106097" y="449359"/>
                </a:lnTo>
                <a:lnTo>
                  <a:pt x="57054" y="441565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6278879" y="1642745"/>
            <a:ext cx="474345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55"/>
              </a:lnSpc>
            </a:pPr>
            <a:r>
              <a:rPr sz="800" spc="-5" dirty="0">
                <a:latin typeface="Times New Roman"/>
                <a:cs typeface="Times New Roman"/>
              </a:rPr>
              <a:t>Sales</a:t>
            </a:r>
            <a:r>
              <a:rPr sz="800" spc="-90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Order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010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533400" y="0"/>
                </a:moveTo>
                <a:lnTo>
                  <a:pt x="0" y="0"/>
                </a:lnTo>
                <a:lnTo>
                  <a:pt x="0" y="426974"/>
                </a:lnTo>
                <a:lnTo>
                  <a:pt x="57054" y="441565"/>
                </a:lnTo>
                <a:lnTo>
                  <a:pt x="106097" y="449359"/>
                </a:lnTo>
                <a:lnTo>
                  <a:pt x="148584" y="451334"/>
                </a:lnTo>
                <a:lnTo>
                  <a:pt x="185973" y="448472"/>
                </a:lnTo>
                <a:lnTo>
                  <a:pt x="219720" y="441750"/>
                </a:lnTo>
                <a:lnTo>
                  <a:pt x="251283" y="432150"/>
                </a:lnTo>
                <a:lnTo>
                  <a:pt x="282116" y="420651"/>
                </a:lnTo>
                <a:lnTo>
                  <a:pt x="313679" y="408233"/>
                </a:lnTo>
                <a:lnTo>
                  <a:pt x="347426" y="395875"/>
                </a:lnTo>
                <a:lnTo>
                  <a:pt x="384815" y="384558"/>
                </a:lnTo>
                <a:lnTo>
                  <a:pt x="427302" y="375262"/>
                </a:lnTo>
                <a:lnTo>
                  <a:pt x="476345" y="368965"/>
                </a:lnTo>
                <a:lnTo>
                  <a:pt x="533400" y="366649"/>
                </a:lnTo>
                <a:lnTo>
                  <a:pt x="533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010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0" y="0"/>
                </a:moveTo>
                <a:lnTo>
                  <a:pt x="533400" y="0"/>
                </a:lnTo>
                <a:lnTo>
                  <a:pt x="533400" y="366649"/>
                </a:lnTo>
                <a:lnTo>
                  <a:pt x="476345" y="368965"/>
                </a:lnTo>
                <a:lnTo>
                  <a:pt x="427302" y="375262"/>
                </a:lnTo>
                <a:lnTo>
                  <a:pt x="384815" y="384558"/>
                </a:lnTo>
                <a:lnTo>
                  <a:pt x="347426" y="395875"/>
                </a:lnTo>
                <a:lnTo>
                  <a:pt x="313679" y="408233"/>
                </a:lnTo>
                <a:lnTo>
                  <a:pt x="282116" y="420651"/>
                </a:lnTo>
                <a:lnTo>
                  <a:pt x="251283" y="432150"/>
                </a:lnTo>
                <a:lnTo>
                  <a:pt x="219720" y="441750"/>
                </a:lnTo>
                <a:lnTo>
                  <a:pt x="185973" y="448472"/>
                </a:lnTo>
                <a:lnTo>
                  <a:pt x="148584" y="451334"/>
                </a:lnTo>
                <a:lnTo>
                  <a:pt x="106097" y="449359"/>
                </a:lnTo>
                <a:lnTo>
                  <a:pt x="57054" y="441565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7112761" y="1642745"/>
            <a:ext cx="328295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55"/>
              </a:lnSpc>
            </a:pPr>
            <a:r>
              <a:rPr sz="800" dirty="0">
                <a:latin typeface="Times New Roman"/>
                <a:cs typeface="Times New Roman"/>
              </a:rPr>
              <a:t>Pur</a:t>
            </a:r>
            <a:r>
              <a:rPr sz="800" spc="-114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Req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772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533400" y="0"/>
                </a:moveTo>
                <a:lnTo>
                  <a:pt x="0" y="0"/>
                </a:lnTo>
                <a:lnTo>
                  <a:pt x="0" y="426974"/>
                </a:lnTo>
                <a:lnTo>
                  <a:pt x="57054" y="441565"/>
                </a:lnTo>
                <a:lnTo>
                  <a:pt x="106097" y="449359"/>
                </a:lnTo>
                <a:lnTo>
                  <a:pt x="148584" y="451334"/>
                </a:lnTo>
                <a:lnTo>
                  <a:pt x="185973" y="448472"/>
                </a:lnTo>
                <a:lnTo>
                  <a:pt x="219720" y="441750"/>
                </a:lnTo>
                <a:lnTo>
                  <a:pt x="251283" y="432150"/>
                </a:lnTo>
                <a:lnTo>
                  <a:pt x="282116" y="420651"/>
                </a:lnTo>
                <a:lnTo>
                  <a:pt x="313679" y="408233"/>
                </a:lnTo>
                <a:lnTo>
                  <a:pt x="347426" y="395875"/>
                </a:lnTo>
                <a:lnTo>
                  <a:pt x="384815" y="384558"/>
                </a:lnTo>
                <a:lnTo>
                  <a:pt x="427302" y="375262"/>
                </a:lnTo>
                <a:lnTo>
                  <a:pt x="476345" y="368965"/>
                </a:lnTo>
                <a:lnTo>
                  <a:pt x="533400" y="366649"/>
                </a:lnTo>
                <a:lnTo>
                  <a:pt x="533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772400" y="15240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0" y="0"/>
                </a:moveTo>
                <a:lnTo>
                  <a:pt x="533400" y="0"/>
                </a:lnTo>
                <a:lnTo>
                  <a:pt x="533400" y="366649"/>
                </a:lnTo>
                <a:lnTo>
                  <a:pt x="476345" y="368965"/>
                </a:lnTo>
                <a:lnTo>
                  <a:pt x="427302" y="375262"/>
                </a:lnTo>
                <a:lnTo>
                  <a:pt x="384815" y="384558"/>
                </a:lnTo>
                <a:lnTo>
                  <a:pt x="347426" y="395875"/>
                </a:lnTo>
                <a:lnTo>
                  <a:pt x="313679" y="408233"/>
                </a:lnTo>
                <a:lnTo>
                  <a:pt x="282116" y="420651"/>
                </a:lnTo>
                <a:lnTo>
                  <a:pt x="251283" y="432150"/>
                </a:lnTo>
                <a:lnTo>
                  <a:pt x="219720" y="441750"/>
                </a:lnTo>
                <a:lnTo>
                  <a:pt x="185973" y="448472"/>
                </a:lnTo>
                <a:lnTo>
                  <a:pt x="148584" y="451334"/>
                </a:lnTo>
                <a:lnTo>
                  <a:pt x="106097" y="449359"/>
                </a:lnTo>
                <a:lnTo>
                  <a:pt x="57054" y="441565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7839709" y="1642745"/>
            <a:ext cx="401320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55"/>
              </a:lnSpc>
            </a:pPr>
            <a:r>
              <a:rPr sz="800" dirty="0">
                <a:latin typeface="Times New Roman"/>
                <a:cs typeface="Times New Roman"/>
              </a:rPr>
              <a:t>Pur</a:t>
            </a:r>
            <a:r>
              <a:rPr sz="800" spc="-114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Order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543800" y="19812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666355" y="2014473"/>
            <a:ext cx="63500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705600" y="19812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6827773" y="2014473"/>
            <a:ext cx="63500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2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8077200" y="2057400"/>
            <a:ext cx="0" cy="609600"/>
          </a:xfrm>
          <a:custGeom>
            <a:avLst/>
            <a:gdLst/>
            <a:ahLst/>
            <a:cxnLst/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172200" y="2628900"/>
            <a:ext cx="1905000" cy="76200"/>
          </a:xfrm>
          <a:custGeom>
            <a:avLst/>
            <a:gdLst/>
            <a:ahLst/>
            <a:cxnLst/>
            <a:rect l="l" t="t" r="r" b="b"/>
            <a:pathLst>
              <a:path w="19050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1905000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1905000" h="76200">
                <a:moveTo>
                  <a:pt x="1905000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1905000" y="44450"/>
                </a:lnTo>
                <a:lnTo>
                  <a:pt x="19050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95900" y="2057400"/>
            <a:ext cx="76200" cy="304800"/>
          </a:xfrm>
          <a:custGeom>
            <a:avLst/>
            <a:gdLst/>
            <a:ahLst/>
            <a:cxnLst/>
            <a:rect l="l" t="t" r="r" b="b"/>
            <a:pathLst>
              <a:path w="76200" h="304800">
                <a:moveTo>
                  <a:pt x="44450" y="63500"/>
                </a:moveTo>
                <a:lnTo>
                  <a:pt x="31750" y="63500"/>
                </a:lnTo>
                <a:lnTo>
                  <a:pt x="31750" y="304800"/>
                </a:lnTo>
                <a:lnTo>
                  <a:pt x="44450" y="304800"/>
                </a:lnTo>
                <a:lnTo>
                  <a:pt x="44450" y="63500"/>
                </a:lnTo>
                <a:close/>
              </a:path>
              <a:path w="76200" h="304800">
                <a:moveTo>
                  <a:pt x="38100" y="0"/>
                </a:moveTo>
                <a:lnTo>
                  <a:pt x="0" y="76200"/>
                </a:lnTo>
                <a:lnTo>
                  <a:pt x="31750" y="76200"/>
                </a:lnTo>
                <a:lnTo>
                  <a:pt x="31750" y="63500"/>
                </a:lnTo>
                <a:lnTo>
                  <a:pt x="69850" y="63500"/>
                </a:lnTo>
                <a:lnTo>
                  <a:pt x="38100" y="0"/>
                </a:lnTo>
                <a:close/>
              </a:path>
              <a:path w="76200" h="304800">
                <a:moveTo>
                  <a:pt x="69850" y="63500"/>
                </a:moveTo>
                <a:lnTo>
                  <a:pt x="44450" y="63500"/>
                </a:lnTo>
                <a:lnTo>
                  <a:pt x="44450" y="76200"/>
                </a:lnTo>
                <a:lnTo>
                  <a:pt x="76200" y="76200"/>
                </a:lnTo>
                <a:lnTo>
                  <a:pt x="69850" y="635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781800" y="1714500"/>
            <a:ext cx="228600" cy="76200"/>
          </a:xfrm>
          <a:custGeom>
            <a:avLst/>
            <a:gdLst/>
            <a:ahLst/>
            <a:cxnLst/>
            <a:rect l="l" t="t" r="r" b="b"/>
            <a:pathLst>
              <a:path w="228600" h="76200">
                <a:moveTo>
                  <a:pt x="152400" y="0"/>
                </a:moveTo>
                <a:lnTo>
                  <a:pt x="152400" y="76200"/>
                </a:lnTo>
                <a:lnTo>
                  <a:pt x="215900" y="44450"/>
                </a:lnTo>
                <a:lnTo>
                  <a:pt x="165100" y="44450"/>
                </a:lnTo>
                <a:lnTo>
                  <a:pt x="165100" y="31750"/>
                </a:lnTo>
                <a:lnTo>
                  <a:pt x="215900" y="31750"/>
                </a:lnTo>
                <a:lnTo>
                  <a:pt x="152400" y="0"/>
                </a:lnTo>
                <a:close/>
              </a:path>
              <a:path w="228600" h="76200">
                <a:moveTo>
                  <a:pt x="152400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52400" y="44450"/>
                </a:lnTo>
                <a:lnTo>
                  <a:pt x="152400" y="31750"/>
                </a:lnTo>
                <a:close/>
              </a:path>
              <a:path w="228600" h="76200">
                <a:moveTo>
                  <a:pt x="215900" y="31750"/>
                </a:moveTo>
                <a:lnTo>
                  <a:pt x="165100" y="31750"/>
                </a:lnTo>
                <a:lnTo>
                  <a:pt x="165100" y="44450"/>
                </a:lnTo>
                <a:lnTo>
                  <a:pt x="215900" y="44450"/>
                </a:lnTo>
                <a:lnTo>
                  <a:pt x="228600" y="38100"/>
                </a:lnTo>
                <a:lnTo>
                  <a:pt x="2159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543800" y="1714500"/>
            <a:ext cx="228600" cy="76200"/>
          </a:xfrm>
          <a:custGeom>
            <a:avLst/>
            <a:gdLst/>
            <a:ahLst/>
            <a:cxnLst/>
            <a:rect l="l" t="t" r="r" b="b"/>
            <a:pathLst>
              <a:path w="228600" h="76200">
                <a:moveTo>
                  <a:pt x="152400" y="0"/>
                </a:moveTo>
                <a:lnTo>
                  <a:pt x="152400" y="76200"/>
                </a:lnTo>
                <a:lnTo>
                  <a:pt x="215900" y="44450"/>
                </a:lnTo>
                <a:lnTo>
                  <a:pt x="165100" y="44450"/>
                </a:lnTo>
                <a:lnTo>
                  <a:pt x="165100" y="31750"/>
                </a:lnTo>
                <a:lnTo>
                  <a:pt x="215900" y="31750"/>
                </a:lnTo>
                <a:lnTo>
                  <a:pt x="152400" y="0"/>
                </a:lnTo>
                <a:close/>
              </a:path>
              <a:path w="228600" h="76200">
                <a:moveTo>
                  <a:pt x="152400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52400" y="44450"/>
                </a:lnTo>
                <a:lnTo>
                  <a:pt x="152400" y="31750"/>
                </a:lnTo>
                <a:close/>
              </a:path>
              <a:path w="228600" h="76200">
                <a:moveTo>
                  <a:pt x="215900" y="31750"/>
                </a:moveTo>
                <a:lnTo>
                  <a:pt x="165100" y="31750"/>
                </a:lnTo>
                <a:lnTo>
                  <a:pt x="165100" y="44450"/>
                </a:lnTo>
                <a:lnTo>
                  <a:pt x="215900" y="44450"/>
                </a:lnTo>
                <a:lnTo>
                  <a:pt x="228600" y="38100"/>
                </a:lnTo>
                <a:lnTo>
                  <a:pt x="2159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629400" y="29718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533400" y="0"/>
                </a:moveTo>
                <a:lnTo>
                  <a:pt x="0" y="0"/>
                </a:lnTo>
                <a:lnTo>
                  <a:pt x="0" y="426974"/>
                </a:lnTo>
                <a:lnTo>
                  <a:pt x="57054" y="441565"/>
                </a:lnTo>
                <a:lnTo>
                  <a:pt x="106097" y="449359"/>
                </a:lnTo>
                <a:lnTo>
                  <a:pt x="148584" y="451334"/>
                </a:lnTo>
                <a:lnTo>
                  <a:pt x="185973" y="448472"/>
                </a:lnTo>
                <a:lnTo>
                  <a:pt x="219720" y="441750"/>
                </a:lnTo>
                <a:lnTo>
                  <a:pt x="251283" y="432150"/>
                </a:lnTo>
                <a:lnTo>
                  <a:pt x="282116" y="420651"/>
                </a:lnTo>
                <a:lnTo>
                  <a:pt x="313679" y="408233"/>
                </a:lnTo>
                <a:lnTo>
                  <a:pt x="347426" y="395875"/>
                </a:lnTo>
                <a:lnTo>
                  <a:pt x="384815" y="384558"/>
                </a:lnTo>
                <a:lnTo>
                  <a:pt x="427302" y="375262"/>
                </a:lnTo>
                <a:lnTo>
                  <a:pt x="476345" y="368965"/>
                </a:lnTo>
                <a:lnTo>
                  <a:pt x="533400" y="366649"/>
                </a:lnTo>
                <a:lnTo>
                  <a:pt x="533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629400" y="29718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0" y="0"/>
                </a:moveTo>
                <a:lnTo>
                  <a:pt x="533400" y="0"/>
                </a:lnTo>
                <a:lnTo>
                  <a:pt x="533400" y="366649"/>
                </a:lnTo>
                <a:lnTo>
                  <a:pt x="476345" y="368965"/>
                </a:lnTo>
                <a:lnTo>
                  <a:pt x="427302" y="375262"/>
                </a:lnTo>
                <a:lnTo>
                  <a:pt x="384815" y="384558"/>
                </a:lnTo>
                <a:lnTo>
                  <a:pt x="347426" y="395875"/>
                </a:lnTo>
                <a:lnTo>
                  <a:pt x="313679" y="408233"/>
                </a:lnTo>
                <a:lnTo>
                  <a:pt x="282116" y="420651"/>
                </a:lnTo>
                <a:lnTo>
                  <a:pt x="251283" y="432150"/>
                </a:lnTo>
                <a:lnTo>
                  <a:pt x="219720" y="441750"/>
                </a:lnTo>
                <a:lnTo>
                  <a:pt x="185973" y="448472"/>
                </a:lnTo>
                <a:lnTo>
                  <a:pt x="148584" y="451334"/>
                </a:lnTo>
                <a:lnTo>
                  <a:pt x="106097" y="449359"/>
                </a:lnTo>
                <a:lnTo>
                  <a:pt x="57054" y="441565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772400" y="29718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533400" y="0"/>
                </a:moveTo>
                <a:lnTo>
                  <a:pt x="0" y="0"/>
                </a:lnTo>
                <a:lnTo>
                  <a:pt x="0" y="426974"/>
                </a:lnTo>
                <a:lnTo>
                  <a:pt x="57054" y="441565"/>
                </a:lnTo>
                <a:lnTo>
                  <a:pt x="106097" y="449359"/>
                </a:lnTo>
                <a:lnTo>
                  <a:pt x="148584" y="451334"/>
                </a:lnTo>
                <a:lnTo>
                  <a:pt x="185973" y="448472"/>
                </a:lnTo>
                <a:lnTo>
                  <a:pt x="219720" y="441750"/>
                </a:lnTo>
                <a:lnTo>
                  <a:pt x="251283" y="432150"/>
                </a:lnTo>
                <a:lnTo>
                  <a:pt x="282116" y="420651"/>
                </a:lnTo>
                <a:lnTo>
                  <a:pt x="313679" y="408233"/>
                </a:lnTo>
                <a:lnTo>
                  <a:pt x="347426" y="395875"/>
                </a:lnTo>
                <a:lnTo>
                  <a:pt x="384815" y="384558"/>
                </a:lnTo>
                <a:lnTo>
                  <a:pt x="427302" y="375262"/>
                </a:lnTo>
                <a:lnTo>
                  <a:pt x="476345" y="368965"/>
                </a:lnTo>
                <a:lnTo>
                  <a:pt x="533400" y="366649"/>
                </a:lnTo>
                <a:lnTo>
                  <a:pt x="533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772400" y="2971800"/>
            <a:ext cx="533400" cy="451484"/>
          </a:xfrm>
          <a:custGeom>
            <a:avLst/>
            <a:gdLst/>
            <a:ahLst/>
            <a:cxnLst/>
            <a:rect l="l" t="t" r="r" b="b"/>
            <a:pathLst>
              <a:path w="533400" h="451485">
                <a:moveTo>
                  <a:pt x="0" y="0"/>
                </a:moveTo>
                <a:lnTo>
                  <a:pt x="533400" y="0"/>
                </a:lnTo>
                <a:lnTo>
                  <a:pt x="533400" y="366649"/>
                </a:lnTo>
                <a:lnTo>
                  <a:pt x="476345" y="368965"/>
                </a:lnTo>
                <a:lnTo>
                  <a:pt x="427302" y="375262"/>
                </a:lnTo>
                <a:lnTo>
                  <a:pt x="384815" y="384558"/>
                </a:lnTo>
                <a:lnTo>
                  <a:pt x="347426" y="395875"/>
                </a:lnTo>
                <a:lnTo>
                  <a:pt x="313679" y="408233"/>
                </a:lnTo>
                <a:lnTo>
                  <a:pt x="282116" y="420651"/>
                </a:lnTo>
                <a:lnTo>
                  <a:pt x="251283" y="432150"/>
                </a:lnTo>
                <a:lnTo>
                  <a:pt x="219720" y="441750"/>
                </a:lnTo>
                <a:lnTo>
                  <a:pt x="185973" y="448472"/>
                </a:lnTo>
                <a:lnTo>
                  <a:pt x="148584" y="451334"/>
                </a:lnTo>
                <a:lnTo>
                  <a:pt x="106097" y="449359"/>
                </a:lnTo>
                <a:lnTo>
                  <a:pt x="57054" y="441565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7787893" y="3090926"/>
            <a:ext cx="506730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60"/>
              </a:lnSpc>
            </a:pPr>
            <a:r>
              <a:rPr sz="800" spc="5" dirty="0">
                <a:latin typeface="Times New Roman"/>
                <a:cs typeface="Times New Roman"/>
              </a:rPr>
              <a:t>MM</a:t>
            </a:r>
            <a:r>
              <a:rPr sz="800" spc="-125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Invoice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8039100" y="2743200"/>
            <a:ext cx="76200" cy="228600"/>
          </a:xfrm>
          <a:custGeom>
            <a:avLst/>
            <a:gdLst/>
            <a:ahLst/>
            <a:cxnLst/>
            <a:rect l="l" t="t" r="r" b="b"/>
            <a:pathLst>
              <a:path w="76200" h="228600">
                <a:moveTo>
                  <a:pt x="44450" y="0"/>
                </a:moveTo>
                <a:lnTo>
                  <a:pt x="31750" y="0"/>
                </a:lnTo>
                <a:lnTo>
                  <a:pt x="31750" y="50800"/>
                </a:lnTo>
                <a:lnTo>
                  <a:pt x="44450" y="50800"/>
                </a:lnTo>
                <a:lnTo>
                  <a:pt x="44450" y="0"/>
                </a:lnTo>
                <a:close/>
              </a:path>
              <a:path w="76200" h="228600">
                <a:moveTo>
                  <a:pt x="44450" y="88900"/>
                </a:moveTo>
                <a:lnTo>
                  <a:pt x="31750" y="88900"/>
                </a:lnTo>
                <a:lnTo>
                  <a:pt x="31750" y="139700"/>
                </a:lnTo>
                <a:lnTo>
                  <a:pt x="44450" y="139700"/>
                </a:lnTo>
                <a:lnTo>
                  <a:pt x="44450" y="88900"/>
                </a:lnTo>
                <a:close/>
              </a:path>
              <a:path w="76200" h="228600">
                <a:moveTo>
                  <a:pt x="76200" y="152400"/>
                </a:moveTo>
                <a:lnTo>
                  <a:pt x="0" y="152400"/>
                </a:lnTo>
                <a:lnTo>
                  <a:pt x="38100" y="228600"/>
                </a:lnTo>
                <a:lnTo>
                  <a:pt x="76200" y="1524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5426328" y="2158746"/>
            <a:ext cx="332740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spc="-5" dirty="0">
                <a:latin typeface="Times New Roman"/>
                <a:cs typeface="Times New Roman"/>
              </a:rPr>
              <a:t>G</a:t>
            </a:r>
            <a:r>
              <a:rPr sz="1000" dirty="0">
                <a:latin typeface="Times New Roman"/>
                <a:cs typeface="Times New Roman"/>
              </a:rPr>
              <a:t>ood</a:t>
            </a:r>
            <a:r>
              <a:rPr sz="1000" spc="-5" dirty="0">
                <a:latin typeface="Times New Roman"/>
                <a:cs typeface="Times New Roman"/>
              </a:rPr>
              <a:t>s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8077200" y="25908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6172200" y="2387600"/>
            <a:ext cx="2091055" cy="388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20675">
              <a:lnSpc>
                <a:spcPct val="100000"/>
              </a:lnSpc>
            </a:pPr>
            <a:r>
              <a:rPr sz="1000" dirty="0">
                <a:latin typeface="Times New Roman"/>
                <a:cs typeface="Times New Roman"/>
              </a:rPr>
              <a:t>PO   </a:t>
            </a:r>
            <a:r>
              <a:rPr sz="1000" spc="-10" dirty="0">
                <a:latin typeface="Times New Roman"/>
                <a:cs typeface="Times New Roman"/>
              </a:rPr>
              <a:t>with</a:t>
            </a:r>
            <a:r>
              <a:rPr sz="1000" spc="170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Vendor</a:t>
            </a:r>
            <a:endParaRPr sz="1000">
              <a:latin typeface="Times New Roman"/>
              <a:cs typeface="Times New Roman"/>
            </a:endParaRPr>
          </a:p>
          <a:p>
            <a:pPr>
              <a:lnSpc>
                <a:spcPts val="1195"/>
              </a:lnSpc>
              <a:spcBef>
                <a:spcPts val="665"/>
              </a:spcBef>
              <a:tabLst>
                <a:tab pos="1932939" algn="l"/>
              </a:tabLst>
            </a:pPr>
            <a:r>
              <a:rPr sz="1000" b="1" u="dash" spc="-5" dirty="0">
                <a:solidFill>
                  <a:srgbClr val="0000FF"/>
                </a:solidFill>
                <a:latin typeface="Times New Roman"/>
                <a:cs typeface="Times New Roman"/>
              </a:rPr>
              <a:t> 	</a:t>
            </a: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  </a:t>
            </a:r>
            <a:r>
              <a:rPr sz="1000" b="1" spc="-10" dirty="0">
                <a:solidFill>
                  <a:srgbClr val="0000FF"/>
                </a:solidFill>
                <a:latin typeface="Times New Roman"/>
                <a:cs typeface="Times New Roman"/>
              </a:rPr>
              <a:t> </a:t>
            </a: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6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7315200" y="26670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4876800" y="2768600"/>
            <a:ext cx="2624455" cy="444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Vendor</a:t>
            </a:r>
            <a:r>
              <a:rPr sz="1000" spc="-6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Invoice</a:t>
            </a:r>
            <a:r>
              <a:rPr sz="1500" b="1" spc="-7" baseline="30555" dirty="0">
                <a:solidFill>
                  <a:srgbClr val="0000FF"/>
                </a:solidFill>
                <a:latin typeface="Times New Roman"/>
                <a:cs typeface="Times New Roman"/>
              </a:rPr>
              <a:t>5</a:t>
            </a:r>
            <a:endParaRPr sz="1500" baseline="30555">
              <a:latin typeface="Times New Roman"/>
              <a:cs typeface="Times New Roman"/>
            </a:endParaRPr>
          </a:p>
          <a:p>
            <a:pPr>
              <a:lnSpc>
                <a:spcPts val="960"/>
              </a:lnSpc>
              <a:spcBef>
                <a:spcPts val="1335"/>
              </a:spcBef>
              <a:tabLst>
                <a:tab pos="1698625" algn="l"/>
                <a:tab pos="1877060" algn="l"/>
              </a:tabLst>
            </a:pPr>
            <a:r>
              <a:rPr sz="800" u="sng" dirty="0">
                <a:latin typeface="Times New Roman"/>
                <a:cs typeface="Times New Roman"/>
              </a:rPr>
              <a:t> 	</a:t>
            </a:r>
            <a:r>
              <a:rPr sz="800" dirty="0">
                <a:latin typeface="Times New Roman"/>
                <a:cs typeface="Times New Roman"/>
              </a:rPr>
              <a:t>	Billing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953000" y="21336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5074920" y="2166873"/>
            <a:ext cx="63500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b="1" spc="-5" dirty="0">
                <a:solidFill>
                  <a:srgbClr val="0000FF"/>
                </a:solidFill>
                <a:latin typeface="Times New Roman"/>
                <a:cs typeface="Times New Roman"/>
              </a:rPr>
              <a:t>4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7162800" y="3162300"/>
            <a:ext cx="533400" cy="76200"/>
          </a:xfrm>
          <a:custGeom>
            <a:avLst/>
            <a:gdLst/>
            <a:ahLst/>
            <a:cxnLst/>
            <a:rect l="l" t="t" r="r" b="b"/>
            <a:pathLst>
              <a:path w="5334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533400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533400" h="76200">
                <a:moveTo>
                  <a:pt x="533400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533400" y="44450"/>
                </a:lnTo>
                <a:lnTo>
                  <a:pt x="5334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7366381" y="3302000"/>
            <a:ext cx="189865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spc="-5" dirty="0">
                <a:latin typeface="Times New Roman"/>
                <a:cs typeface="Times New Roman"/>
              </a:rPr>
              <a:t>Qty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4838700" y="2057400"/>
            <a:ext cx="76200" cy="1143000"/>
          </a:xfrm>
          <a:custGeom>
            <a:avLst/>
            <a:gdLst/>
            <a:ahLst/>
            <a:cxnLst/>
            <a:rect l="l" t="t" r="r" b="b"/>
            <a:pathLst>
              <a:path w="76200" h="1143000">
                <a:moveTo>
                  <a:pt x="44450" y="63500"/>
                </a:moveTo>
                <a:lnTo>
                  <a:pt x="31750" y="63500"/>
                </a:lnTo>
                <a:lnTo>
                  <a:pt x="31750" y="1143000"/>
                </a:lnTo>
                <a:lnTo>
                  <a:pt x="44450" y="1143000"/>
                </a:lnTo>
                <a:lnTo>
                  <a:pt x="44450" y="63500"/>
                </a:lnTo>
                <a:close/>
              </a:path>
              <a:path w="76200" h="1143000">
                <a:moveTo>
                  <a:pt x="38100" y="0"/>
                </a:moveTo>
                <a:lnTo>
                  <a:pt x="0" y="76200"/>
                </a:lnTo>
                <a:lnTo>
                  <a:pt x="31750" y="76200"/>
                </a:lnTo>
                <a:lnTo>
                  <a:pt x="31750" y="63500"/>
                </a:lnTo>
                <a:lnTo>
                  <a:pt x="69850" y="63500"/>
                </a:lnTo>
                <a:lnTo>
                  <a:pt x="38100" y="0"/>
                </a:lnTo>
                <a:close/>
              </a:path>
              <a:path w="76200" h="1143000">
                <a:moveTo>
                  <a:pt x="69850" y="63500"/>
                </a:moveTo>
                <a:lnTo>
                  <a:pt x="44450" y="63500"/>
                </a:lnTo>
                <a:lnTo>
                  <a:pt x="44450" y="76200"/>
                </a:lnTo>
                <a:lnTo>
                  <a:pt x="76200" y="76200"/>
                </a:lnTo>
                <a:lnTo>
                  <a:pt x="69850" y="635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953000" y="32766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114300"/>
                </a:moveTo>
                <a:lnTo>
                  <a:pt x="29394" y="46798"/>
                </a:lnTo>
                <a:lnTo>
                  <a:pt x="62380" y="22055"/>
                </a:lnTo>
                <a:lnTo>
                  <a:pt x="104217" y="5827"/>
                </a:lnTo>
                <a:lnTo>
                  <a:pt x="152400" y="0"/>
                </a:lnTo>
                <a:lnTo>
                  <a:pt x="200582" y="5827"/>
                </a:lnTo>
                <a:lnTo>
                  <a:pt x="242419" y="22055"/>
                </a:lnTo>
                <a:lnTo>
                  <a:pt x="275405" y="46798"/>
                </a:lnTo>
                <a:lnTo>
                  <a:pt x="297033" y="78175"/>
                </a:lnTo>
                <a:lnTo>
                  <a:pt x="304800" y="114300"/>
                </a:lnTo>
                <a:lnTo>
                  <a:pt x="297033" y="150424"/>
                </a:lnTo>
                <a:lnTo>
                  <a:pt x="275405" y="181801"/>
                </a:lnTo>
                <a:lnTo>
                  <a:pt x="242419" y="206544"/>
                </a:lnTo>
                <a:lnTo>
                  <a:pt x="200582" y="222772"/>
                </a:lnTo>
                <a:lnTo>
                  <a:pt x="152400" y="228600"/>
                </a:lnTo>
                <a:lnTo>
                  <a:pt x="104217" y="222772"/>
                </a:lnTo>
                <a:lnTo>
                  <a:pt x="62380" y="206544"/>
                </a:lnTo>
                <a:lnTo>
                  <a:pt x="29394" y="181801"/>
                </a:lnTo>
                <a:lnTo>
                  <a:pt x="7766" y="150424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5074920" y="3317875"/>
            <a:ext cx="1306195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  <a:tabLst>
                <a:tab pos="274955" algn="l"/>
              </a:tabLst>
            </a:pPr>
            <a:r>
              <a:rPr sz="1500" b="1" spc="-7" baseline="2777" dirty="0">
                <a:solidFill>
                  <a:srgbClr val="0000FF"/>
                </a:solidFill>
                <a:latin typeface="Times New Roman"/>
                <a:cs typeface="Times New Roman"/>
              </a:rPr>
              <a:t>8	</a:t>
            </a:r>
            <a:r>
              <a:rPr sz="1000" spc="-5" dirty="0">
                <a:latin typeface="Times New Roman"/>
                <a:cs typeface="Times New Roman"/>
              </a:rPr>
              <a:t>Invoice to</a:t>
            </a:r>
            <a:r>
              <a:rPr sz="1000" spc="-55" dirty="0">
                <a:latin typeface="Times New Roman"/>
                <a:cs typeface="Times New Roman"/>
              </a:rPr>
              <a:t> </a:t>
            </a:r>
            <a:r>
              <a:rPr sz="1000" spc="-10" dirty="0">
                <a:latin typeface="Times New Roman"/>
                <a:cs typeface="Times New Roman"/>
              </a:rPr>
              <a:t>Customer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57200" y="3687762"/>
            <a:ext cx="3657600" cy="259397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9370" rIns="0" bIns="0" rtlCol="0">
            <a:spAutoFit/>
          </a:bodyPr>
          <a:lstStyle/>
          <a:p>
            <a:pPr marL="91440" marR="116205">
              <a:lnSpc>
                <a:spcPct val="100000"/>
              </a:lnSpc>
              <a:spcBef>
                <a:spcPts val="310"/>
              </a:spcBef>
            </a:pPr>
            <a:r>
              <a:rPr sz="2000" b="1" dirty="0">
                <a:latin typeface="Times New Roman"/>
                <a:cs typeface="Times New Roman"/>
              </a:rPr>
              <a:t>Consignment</a:t>
            </a:r>
            <a:r>
              <a:rPr sz="2000" dirty="0">
                <a:latin typeface="Times New Roman"/>
                <a:cs typeface="Times New Roman"/>
              </a:rPr>
              <a:t>: </a:t>
            </a:r>
            <a:r>
              <a:rPr sz="1800" spc="-5" dirty="0">
                <a:latin typeface="Times New Roman"/>
                <a:cs typeface="Times New Roman"/>
              </a:rPr>
              <a:t>Customers </a:t>
            </a:r>
            <a:r>
              <a:rPr sz="1800" dirty="0">
                <a:latin typeface="Times New Roman"/>
                <a:cs typeface="Times New Roman"/>
              </a:rPr>
              <a:t>store the  consignment goods at their own  warehouses. The customer can</a:t>
            </a:r>
            <a:r>
              <a:rPr sz="1800" spc="-15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access  the goods in the consignment  warehouse at any </a:t>
            </a:r>
            <a:r>
              <a:rPr sz="1800" spc="-5" dirty="0">
                <a:latin typeface="Times New Roman"/>
                <a:cs typeface="Times New Roman"/>
              </a:rPr>
              <a:t>time. </a:t>
            </a:r>
            <a:r>
              <a:rPr sz="1800" dirty="0">
                <a:latin typeface="Times New Roman"/>
                <a:cs typeface="Times New Roman"/>
              </a:rPr>
              <a:t>They are</a:t>
            </a:r>
            <a:r>
              <a:rPr sz="1800" spc="-13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only  billed for the goods when they are  </a:t>
            </a:r>
            <a:r>
              <a:rPr sz="1800" spc="-5" dirty="0">
                <a:latin typeface="Times New Roman"/>
                <a:cs typeface="Times New Roman"/>
              </a:rPr>
              <a:t>removed </a:t>
            </a:r>
            <a:r>
              <a:rPr sz="1800" dirty="0">
                <a:latin typeface="Times New Roman"/>
                <a:cs typeface="Times New Roman"/>
              </a:rPr>
              <a:t>from the warehouse and  only for the actual quantities taken  from the</a:t>
            </a:r>
            <a:r>
              <a:rPr sz="1800" spc="-11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warehouse.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4648200" y="3668712"/>
            <a:ext cx="3810000" cy="259397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176530" rIns="0" bIns="0" rtlCol="0">
            <a:spAutoFit/>
          </a:bodyPr>
          <a:lstStyle/>
          <a:p>
            <a:pPr marL="92075" marR="92075">
              <a:lnSpc>
                <a:spcPct val="100000"/>
              </a:lnSpc>
              <a:spcBef>
                <a:spcPts val="1390"/>
              </a:spcBef>
            </a:pPr>
            <a:r>
              <a:rPr sz="2000" b="1" spc="-5" dirty="0">
                <a:latin typeface="Times New Roman"/>
                <a:cs typeface="Times New Roman"/>
              </a:rPr>
              <a:t>Third </a:t>
            </a:r>
            <a:r>
              <a:rPr sz="2000" b="1" dirty="0">
                <a:latin typeface="Times New Roman"/>
                <a:cs typeface="Times New Roman"/>
              </a:rPr>
              <a:t>Party</a:t>
            </a:r>
            <a:r>
              <a:rPr sz="2000" dirty="0">
                <a:latin typeface="Times New Roman"/>
                <a:cs typeface="Times New Roman"/>
              </a:rPr>
              <a:t>: </a:t>
            </a:r>
            <a:r>
              <a:rPr sz="1800" spc="-65" dirty="0">
                <a:latin typeface="Times New Roman"/>
                <a:cs typeface="Times New Roman"/>
              </a:rPr>
              <a:t>You </a:t>
            </a:r>
            <a:r>
              <a:rPr sz="1800" spc="-5" dirty="0">
                <a:latin typeface="Times New Roman"/>
                <a:cs typeface="Times New Roman"/>
              </a:rPr>
              <a:t>may </a:t>
            </a:r>
            <a:r>
              <a:rPr sz="1800" dirty="0">
                <a:latin typeface="Times New Roman"/>
                <a:cs typeface="Times New Roman"/>
              </a:rPr>
              <a:t>need to let a  vendor deliver items </a:t>
            </a:r>
            <a:r>
              <a:rPr sz="1800" spc="5" dirty="0">
                <a:latin typeface="Times New Roman"/>
                <a:cs typeface="Times New Roman"/>
              </a:rPr>
              <a:t>you </a:t>
            </a:r>
            <a:r>
              <a:rPr sz="1800" dirty="0">
                <a:latin typeface="Times New Roman"/>
                <a:cs typeface="Times New Roman"/>
              </a:rPr>
              <a:t>would  </a:t>
            </a:r>
            <a:r>
              <a:rPr sz="1800" spc="-5" dirty="0">
                <a:latin typeface="Times New Roman"/>
                <a:cs typeface="Times New Roman"/>
              </a:rPr>
              <a:t>normally </a:t>
            </a:r>
            <a:r>
              <a:rPr sz="1800" dirty="0">
                <a:latin typeface="Times New Roman"/>
                <a:cs typeface="Times New Roman"/>
              </a:rPr>
              <a:t>deliver yourself. </a:t>
            </a:r>
            <a:r>
              <a:rPr sz="1800" spc="-65" dirty="0">
                <a:latin typeface="Times New Roman"/>
                <a:cs typeface="Times New Roman"/>
              </a:rPr>
              <a:t>You </a:t>
            </a:r>
            <a:r>
              <a:rPr sz="1800" spc="-5" dirty="0">
                <a:latin typeface="Times New Roman"/>
                <a:cs typeface="Times New Roman"/>
              </a:rPr>
              <a:t>pass </a:t>
            </a:r>
            <a:r>
              <a:rPr sz="1800" dirty="0">
                <a:latin typeface="Times New Roman"/>
                <a:cs typeface="Times New Roman"/>
              </a:rPr>
              <a:t>the  order along to a third-party vendor</a:t>
            </a:r>
            <a:r>
              <a:rPr sz="1800" spc="-13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who  then </a:t>
            </a:r>
            <a:r>
              <a:rPr sz="1800" spc="-5" dirty="0">
                <a:latin typeface="Times New Roman"/>
                <a:cs typeface="Times New Roman"/>
              </a:rPr>
              <a:t>ships </a:t>
            </a:r>
            <a:r>
              <a:rPr sz="1800" dirty="0">
                <a:latin typeface="Times New Roman"/>
                <a:cs typeface="Times New Roman"/>
              </a:rPr>
              <a:t>the goods directly to the  customer and bills </a:t>
            </a:r>
            <a:r>
              <a:rPr sz="1800" spc="5" dirty="0">
                <a:latin typeface="Times New Roman"/>
                <a:cs typeface="Times New Roman"/>
              </a:rPr>
              <a:t>you. </a:t>
            </a:r>
            <a:r>
              <a:rPr sz="1800" spc="-65" dirty="0">
                <a:latin typeface="Times New Roman"/>
                <a:cs typeface="Times New Roman"/>
              </a:rPr>
              <a:t>You </a:t>
            </a:r>
            <a:r>
              <a:rPr sz="1800" dirty="0">
                <a:latin typeface="Times New Roman"/>
                <a:cs typeface="Times New Roman"/>
              </a:rPr>
              <a:t>then</a:t>
            </a:r>
            <a:r>
              <a:rPr sz="1800" spc="-14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create  an Invoice for the customer based on  the quantity billed to </a:t>
            </a:r>
            <a:r>
              <a:rPr sz="1800" spc="5" dirty="0">
                <a:latin typeface="Times New Roman"/>
                <a:cs typeface="Times New Roman"/>
              </a:rPr>
              <a:t>you </a:t>
            </a:r>
            <a:r>
              <a:rPr sz="1800" dirty="0">
                <a:latin typeface="Times New Roman"/>
                <a:cs typeface="Times New Roman"/>
              </a:rPr>
              <a:t>by the</a:t>
            </a:r>
            <a:r>
              <a:rPr sz="1800" spc="-17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vendor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5257800" y="2362136"/>
            <a:ext cx="857250" cy="73183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81000" y="1371600"/>
            <a:ext cx="3810000" cy="10668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572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572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434441" y="1626489"/>
            <a:ext cx="69469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marR="5080" indent="-172720">
              <a:lnSpc>
                <a:spcPct val="100000"/>
              </a:lnSpc>
            </a:pPr>
            <a:r>
              <a:rPr sz="1000" spc="-10" dirty="0">
                <a:latin typeface="Times New Roman"/>
                <a:cs typeface="Times New Roman"/>
              </a:rPr>
              <a:t>C</a:t>
            </a:r>
            <a:r>
              <a:rPr sz="1000" dirty="0">
                <a:latin typeface="Times New Roman"/>
                <a:cs typeface="Times New Roman"/>
              </a:rPr>
              <a:t>o</a:t>
            </a:r>
            <a:r>
              <a:rPr sz="1000" spc="-15" dirty="0">
                <a:latin typeface="Times New Roman"/>
                <a:cs typeface="Times New Roman"/>
              </a:rPr>
              <a:t>n</a:t>
            </a:r>
            <a:r>
              <a:rPr sz="1000" spc="-10" dirty="0">
                <a:latin typeface="Times New Roman"/>
                <a:cs typeface="Times New Roman"/>
              </a:rPr>
              <a:t>s</a:t>
            </a:r>
            <a:r>
              <a:rPr sz="1000" spc="-5" dirty="0">
                <a:latin typeface="Times New Roman"/>
                <a:cs typeface="Times New Roman"/>
              </a:rPr>
              <a:t>i</a:t>
            </a:r>
            <a:r>
              <a:rPr sz="1000" spc="-15" dirty="0">
                <a:latin typeface="Times New Roman"/>
                <a:cs typeface="Times New Roman"/>
              </a:rPr>
              <a:t>gn</a:t>
            </a:r>
            <a:r>
              <a:rPr sz="1000" spc="-25" dirty="0">
                <a:latin typeface="Times New Roman"/>
                <a:cs typeface="Times New Roman"/>
              </a:rPr>
              <a:t>m</a:t>
            </a:r>
            <a:r>
              <a:rPr sz="1000" spc="-5" dirty="0">
                <a:latin typeface="Times New Roman"/>
                <a:cs typeface="Times New Roman"/>
              </a:rPr>
              <a:t>e</a:t>
            </a:r>
            <a:r>
              <a:rPr sz="1000" spc="-10" dirty="0">
                <a:latin typeface="Times New Roman"/>
                <a:cs typeface="Times New Roman"/>
              </a:rPr>
              <a:t>n</a:t>
            </a:r>
            <a:r>
              <a:rPr sz="1000" spc="-5" dirty="0">
                <a:latin typeface="Times New Roman"/>
                <a:cs typeface="Times New Roman"/>
              </a:rPr>
              <a:t>t  Fill</a:t>
            </a:r>
            <a:r>
              <a:rPr sz="1000" spc="-114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Up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3716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3716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1481708" y="1702689"/>
            <a:ext cx="46799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Deli</a:t>
            </a:r>
            <a:r>
              <a:rPr sz="1000" spc="-10" dirty="0">
                <a:latin typeface="Times New Roman"/>
                <a:cs typeface="Times New Roman"/>
              </a:rPr>
              <a:t>v</a:t>
            </a:r>
            <a:r>
              <a:rPr sz="1000" spc="-5" dirty="0">
                <a:latin typeface="Times New Roman"/>
                <a:cs typeface="Times New Roman"/>
              </a:rPr>
              <a:t>e</a:t>
            </a:r>
            <a:r>
              <a:rPr sz="1000" dirty="0">
                <a:latin typeface="Times New Roman"/>
                <a:cs typeface="Times New Roman"/>
              </a:rPr>
              <a:t>r</a:t>
            </a:r>
            <a:r>
              <a:rPr sz="1000" spc="-5" dirty="0">
                <a:latin typeface="Times New Roman"/>
                <a:cs typeface="Times New Roman"/>
              </a:rPr>
              <a:t>y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22860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286000" y="16002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2306192" y="1702689"/>
            <a:ext cx="64706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dirty="0">
                <a:latin typeface="Times New Roman"/>
                <a:cs typeface="Times New Roman"/>
              </a:rPr>
              <a:t>Goods</a:t>
            </a:r>
            <a:r>
              <a:rPr sz="1000" spc="-90" dirty="0">
                <a:latin typeface="Times New Roman"/>
                <a:cs typeface="Times New Roman"/>
              </a:rPr>
              <a:t> </a:t>
            </a:r>
            <a:r>
              <a:rPr sz="1000" spc="-10" dirty="0">
                <a:latin typeface="Times New Roman"/>
                <a:cs typeface="Times New Roman"/>
              </a:rPr>
              <a:t>Issue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1430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1430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20574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0574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81000" y="2514600"/>
            <a:ext cx="3810000" cy="1066800"/>
          </a:xfrm>
          <a:custGeom>
            <a:avLst/>
            <a:gdLst/>
            <a:ahLst/>
            <a:cxnLst/>
            <a:rect l="l" t="t" r="r" b="b"/>
            <a:pathLst>
              <a:path w="3810000" h="1066800">
                <a:moveTo>
                  <a:pt x="0" y="1066800"/>
                </a:moveTo>
                <a:lnTo>
                  <a:pt x="3810000" y="1066800"/>
                </a:lnTo>
                <a:lnTo>
                  <a:pt x="38100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572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FFE7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572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 txBox="1"/>
          <p:nvPr/>
        </p:nvSpPr>
        <p:spPr>
          <a:xfrm>
            <a:off x="447141" y="2845689"/>
            <a:ext cx="669290" cy="304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2085" indent="-172720">
              <a:lnSpc>
                <a:spcPct val="100000"/>
              </a:lnSpc>
            </a:pPr>
            <a:r>
              <a:rPr sz="1000" spc="-10" dirty="0">
                <a:latin typeface="Times New Roman"/>
                <a:cs typeface="Times New Roman"/>
              </a:rPr>
              <a:t>C</a:t>
            </a:r>
            <a:r>
              <a:rPr sz="1000" dirty="0">
                <a:latin typeface="Times New Roman"/>
                <a:cs typeface="Times New Roman"/>
              </a:rPr>
              <a:t>o</a:t>
            </a:r>
            <a:r>
              <a:rPr sz="1000" spc="-15" dirty="0">
                <a:latin typeface="Times New Roman"/>
                <a:cs typeface="Times New Roman"/>
              </a:rPr>
              <a:t>n</a:t>
            </a:r>
            <a:r>
              <a:rPr sz="1000" spc="-10" dirty="0">
                <a:latin typeface="Times New Roman"/>
                <a:cs typeface="Times New Roman"/>
              </a:rPr>
              <a:t>s</a:t>
            </a:r>
            <a:r>
              <a:rPr sz="1000" spc="-5" dirty="0">
                <a:latin typeface="Times New Roman"/>
                <a:cs typeface="Times New Roman"/>
              </a:rPr>
              <a:t>i</a:t>
            </a:r>
            <a:r>
              <a:rPr sz="1000" spc="-15" dirty="0">
                <a:latin typeface="Times New Roman"/>
                <a:cs typeface="Times New Roman"/>
              </a:rPr>
              <a:t>gn</a:t>
            </a:r>
            <a:r>
              <a:rPr sz="1000" spc="-25" dirty="0">
                <a:latin typeface="Times New Roman"/>
                <a:cs typeface="Times New Roman"/>
              </a:rPr>
              <a:t>m</a:t>
            </a:r>
            <a:r>
              <a:rPr sz="1000" spc="-5" dirty="0">
                <a:latin typeface="Times New Roman"/>
                <a:cs typeface="Times New Roman"/>
              </a:rPr>
              <a:t>e</a:t>
            </a:r>
            <a:r>
              <a:rPr sz="1000" spc="-10" dirty="0">
                <a:latin typeface="Times New Roman"/>
                <a:cs typeface="Times New Roman"/>
              </a:rPr>
              <a:t>n</a:t>
            </a:r>
            <a:r>
              <a:rPr sz="1000" spc="-5" dirty="0">
                <a:latin typeface="Times New Roman"/>
                <a:cs typeface="Times New Roman"/>
              </a:rPr>
              <a:t>t  Fill</a:t>
            </a:r>
            <a:r>
              <a:rPr sz="1000" spc="-114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Up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13716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FFE7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3716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 txBox="1"/>
          <p:nvPr/>
        </p:nvSpPr>
        <p:spPr>
          <a:xfrm>
            <a:off x="1494408" y="2921889"/>
            <a:ext cx="442595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spc="-5" dirty="0">
                <a:latin typeface="Times New Roman"/>
                <a:cs typeface="Times New Roman"/>
              </a:rPr>
              <a:t>Deli</a:t>
            </a:r>
            <a:r>
              <a:rPr sz="1000" spc="-10" dirty="0">
                <a:latin typeface="Times New Roman"/>
                <a:cs typeface="Times New Roman"/>
              </a:rPr>
              <a:t>v</a:t>
            </a:r>
            <a:r>
              <a:rPr sz="1000" spc="-5" dirty="0">
                <a:latin typeface="Times New Roman"/>
                <a:cs typeface="Times New Roman"/>
              </a:rPr>
              <a:t>e</a:t>
            </a:r>
            <a:r>
              <a:rPr sz="1000" dirty="0">
                <a:latin typeface="Times New Roman"/>
                <a:cs typeface="Times New Roman"/>
              </a:rPr>
              <a:t>r</a:t>
            </a:r>
            <a:r>
              <a:rPr sz="1000" spc="-5" dirty="0">
                <a:latin typeface="Times New Roman"/>
                <a:cs typeface="Times New Roman"/>
              </a:rPr>
              <a:t>y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22860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FFE7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22860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2318892" y="2921889"/>
            <a:ext cx="621665" cy="151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sz="1000" dirty="0">
                <a:latin typeface="Times New Roman"/>
                <a:cs typeface="Times New Roman"/>
              </a:rPr>
              <a:t>Goods</a:t>
            </a:r>
            <a:r>
              <a:rPr sz="1000" spc="-90" dirty="0">
                <a:latin typeface="Times New Roman"/>
                <a:cs typeface="Times New Roman"/>
              </a:rPr>
              <a:t> </a:t>
            </a:r>
            <a:r>
              <a:rPr sz="1000" spc="-10" dirty="0">
                <a:latin typeface="Times New Roman"/>
                <a:cs typeface="Times New Roman"/>
              </a:rPr>
              <a:t>Issue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11430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1430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20574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20574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2004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685800" y="0"/>
                </a:moveTo>
                <a:lnTo>
                  <a:pt x="0" y="0"/>
                </a:lnTo>
                <a:lnTo>
                  <a:pt x="0" y="426974"/>
                </a:lnTo>
                <a:lnTo>
                  <a:pt x="60442" y="439377"/>
                </a:lnTo>
                <a:lnTo>
                  <a:pt x="113853" y="447171"/>
                </a:lnTo>
                <a:lnTo>
                  <a:pt x="161236" y="450881"/>
                </a:lnTo>
                <a:lnTo>
                  <a:pt x="203596" y="451034"/>
                </a:lnTo>
                <a:lnTo>
                  <a:pt x="241938" y="448154"/>
                </a:lnTo>
                <a:lnTo>
                  <a:pt x="277266" y="442768"/>
                </a:lnTo>
                <a:lnTo>
                  <a:pt x="310585" y="435400"/>
                </a:lnTo>
                <a:lnTo>
                  <a:pt x="342900" y="426577"/>
                </a:lnTo>
                <a:lnTo>
                  <a:pt x="408533" y="406665"/>
                </a:lnTo>
                <a:lnTo>
                  <a:pt x="443861" y="396627"/>
                </a:lnTo>
                <a:lnTo>
                  <a:pt x="482203" y="387236"/>
                </a:lnTo>
                <a:lnTo>
                  <a:pt x="524563" y="379018"/>
                </a:lnTo>
                <a:lnTo>
                  <a:pt x="571946" y="372496"/>
                </a:lnTo>
                <a:lnTo>
                  <a:pt x="625357" y="368198"/>
                </a:lnTo>
                <a:lnTo>
                  <a:pt x="685800" y="366649"/>
                </a:lnTo>
                <a:lnTo>
                  <a:pt x="685800" y="0"/>
                </a:lnTo>
                <a:close/>
              </a:path>
            </a:pathLst>
          </a:custGeom>
          <a:solidFill>
            <a:srgbClr val="FFE7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200400" y="2819400"/>
            <a:ext cx="685800" cy="451484"/>
          </a:xfrm>
          <a:custGeom>
            <a:avLst/>
            <a:gdLst/>
            <a:ahLst/>
            <a:cxnLst/>
            <a:rect l="l" t="t" r="r" b="b"/>
            <a:pathLst>
              <a:path w="685800" h="451485">
                <a:moveTo>
                  <a:pt x="0" y="0"/>
                </a:moveTo>
                <a:lnTo>
                  <a:pt x="685800" y="0"/>
                </a:lnTo>
                <a:lnTo>
                  <a:pt x="685800" y="366649"/>
                </a:lnTo>
                <a:lnTo>
                  <a:pt x="625357" y="368198"/>
                </a:lnTo>
                <a:lnTo>
                  <a:pt x="571946" y="372496"/>
                </a:lnTo>
                <a:lnTo>
                  <a:pt x="524563" y="379018"/>
                </a:lnTo>
                <a:lnTo>
                  <a:pt x="482203" y="387236"/>
                </a:lnTo>
                <a:lnTo>
                  <a:pt x="443861" y="396627"/>
                </a:lnTo>
                <a:lnTo>
                  <a:pt x="375214" y="416823"/>
                </a:lnTo>
                <a:lnTo>
                  <a:pt x="342900" y="426577"/>
                </a:lnTo>
                <a:lnTo>
                  <a:pt x="310585" y="435400"/>
                </a:lnTo>
                <a:lnTo>
                  <a:pt x="277266" y="442768"/>
                </a:lnTo>
                <a:lnTo>
                  <a:pt x="241938" y="448154"/>
                </a:lnTo>
                <a:lnTo>
                  <a:pt x="203596" y="451034"/>
                </a:lnTo>
                <a:lnTo>
                  <a:pt x="161236" y="450881"/>
                </a:lnTo>
                <a:lnTo>
                  <a:pt x="113853" y="447171"/>
                </a:lnTo>
                <a:lnTo>
                  <a:pt x="60442" y="439377"/>
                </a:lnTo>
                <a:lnTo>
                  <a:pt x="0" y="426974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3282441" y="2845689"/>
            <a:ext cx="524510" cy="304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85090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Billing  D</a:t>
            </a:r>
            <a:r>
              <a:rPr sz="1000" dirty="0">
                <a:latin typeface="Times New Roman"/>
                <a:cs typeface="Times New Roman"/>
              </a:rPr>
              <a:t>o</a:t>
            </a:r>
            <a:r>
              <a:rPr sz="1000" spc="-5" dirty="0">
                <a:latin typeface="Times New Roman"/>
                <a:cs typeface="Times New Roman"/>
              </a:rPr>
              <a:t>c</a:t>
            </a:r>
            <a:r>
              <a:rPr sz="1000" spc="-10" dirty="0">
                <a:latin typeface="Times New Roman"/>
                <a:cs typeface="Times New Roman"/>
              </a:rPr>
              <a:t>u</a:t>
            </a:r>
            <a:r>
              <a:rPr sz="1000" spc="-25" dirty="0">
                <a:latin typeface="Times New Roman"/>
                <a:cs typeface="Times New Roman"/>
              </a:rPr>
              <a:t>m</a:t>
            </a:r>
            <a:r>
              <a:rPr sz="1000" spc="-5" dirty="0">
                <a:latin typeface="Times New Roman"/>
                <a:cs typeface="Times New Roman"/>
              </a:rPr>
              <a:t>e</a:t>
            </a:r>
            <a:r>
              <a:rPr sz="1000" spc="-10" dirty="0">
                <a:latin typeface="Times New Roman"/>
                <a:cs typeface="Times New Roman"/>
              </a:rPr>
              <a:t>n</a:t>
            </a:r>
            <a:r>
              <a:rPr sz="1000" spc="-5" dirty="0">
                <a:latin typeface="Times New Roman"/>
                <a:cs typeface="Times New Roman"/>
              </a:rPr>
              <a:t>t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9718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2971800" y="29718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981200" y="2057400"/>
            <a:ext cx="304800" cy="304800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152400"/>
                </a:moveTo>
                <a:lnTo>
                  <a:pt x="7766" y="104217"/>
                </a:lnTo>
                <a:lnTo>
                  <a:pt x="29394" y="62380"/>
                </a:lnTo>
                <a:lnTo>
                  <a:pt x="62380" y="29394"/>
                </a:lnTo>
                <a:lnTo>
                  <a:pt x="104217" y="7766"/>
                </a:lnTo>
                <a:lnTo>
                  <a:pt x="152400" y="0"/>
                </a:lnTo>
                <a:lnTo>
                  <a:pt x="200582" y="7766"/>
                </a:lnTo>
                <a:lnTo>
                  <a:pt x="242419" y="29394"/>
                </a:lnTo>
                <a:lnTo>
                  <a:pt x="275405" y="62380"/>
                </a:lnTo>
                <a:lnTo>
                  <a:pt x="297033" y="104217"/>
                </a:lnTo>
                <a:lnTo>
                  <a:pt x="304800" y="152400"/>
                </a:lnTo>
                <a:lnTo>
                  <a:pt x="297033" y="200582"/>
                </a:lnTo>
                <a:lnTo>
                  <a:pt x="275405" y="242419"/>
                </a:lnTo>
                <a:lnTo>
                  <a:pt x="242419" y="275405"/>
                </a:lnTo>
                <a:lnTo>
                  <a:pt x="200582" y="297033"/>
                </a:lnTo>
                <a:lnTo>
                  <a:pt x="152400" y="304800"/>
                </a:lnTo>
                <a:lnTo>
                  <a:pt x="104217" y="297033"/>
                </a:lnTo>
                <a:lnTo>
                  <a:pt x="62380" y="275405"/>
                </a:lnTo>
                <a:lnTo>
                  <a:pt x="29394" y="242419"/>
                </a:lnTo>
                <a:lnTo>
                  <a:pt x="7766" y="200582"/>
                </a:lnTo>
                <a:lnTo>
                  <a:pt x="0" y="152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 txBox="1"/>
          <p:nvPr/>
        </p:nvSpPr>
        <p:spPr>
          <a:xfrm>
            <a:off x="2058161" y="2049017"/>
            <a:ext cx="15303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0066"/>
                </a:solidFill>
                <a:latin typeface="Times New Roman"/>
                <a:cs typeface="Times New Roman"/>
              </a:rPr>
              <a:t>1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1981200" y="3276600"/>
            <a:ext cx="304800" cy="304800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152400"/>
                </a:moveTo>
                <a:lnTo>
                  <a:pt x="7766" y="104217"/>
                </a:lnTo>
                <a:lnTo>
                  <a:pt x="29394" y="62380"/>
                </a:lnTo>
                <a:lnTo>
                  <a:pt x="62380" y="29394"/>
                </a:lnTo>
                <a:lnTo>
                  <a:pt x="104217" y="7766"/>
                </a:lnTo>
                <a:lnTo>
                  <a:pt x="152400" y="0"/>
                </a:lnTo>
                <a:lnTo>
                  <a:pt x="200582" y="7766"/>
                </a:lnTo>
                <a:lnTo>
                  <a:pt x="242419" y="29394"/>
                </a:lnTo>
                <a:lnTo>
                  <a:pt x="275405" y="62380"/>
                </a:lnTo>
                <a:lnTo>
                  <a:pt x="297033" y="104217"/>
                </a:lnTo>
                <a:lnTo>
                  <a:pt x="304800" y="152400"/>
                </a:lnTo>
                <a:lnTo>
                  <a:pt x="297033" y="200582"/>
                </a:lnTo>
                <a:lnTo>
                  <a:pt x="275405" y="242419"/>
                </a:lnTo>
                <a:lnTo>
                  <a:pt x="242419" y="275405"/>
                </a:lnTo>
                <a:lnTo>
                  <a:pt x="200582" y="297033"/>
                </a:lnTo>
                <a:lnTo>
                  <a:pt x="152400" y="304800"/>
                </a:lnTo>
                <a:lnTo>
                  <a:pt x="104217" y="297033"/>
                </a:lnTo>
                <a:lnTo>
                  <a:pt x="62380" y="275405"/>
                </a:lnTo>
                <a:lnTo>
                  <a:pt x="29394" y="242419"/>
                </a:lnTo>
                <a:lnTo>
                  <a:pt x="7766" y="200582"/>
                </a:lnTo>
                <a:lnTo>
                  <a:pt x="0" y="152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2070861" y="3268598"/>
            <a:ext cx="127635" cy="304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390"/>
              </a:lnSpc>
            </a:pPr>
            <a:r>
              <a:rPr sz="2000" b="1" dirty="0">
                <a:solidFill>
                  <a:srgbClr val="FF0066"/>
                </a:solidFill>
                <a:latin typeface="Times New Roman"/>
                <a:cs typeface="Times New Roman"/>
              </a:rPr>
              <a:t>2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3200400" y="1524000"/>
            <a:ext cx="762000" cy="8382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9718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171450" y="0"/>
                </a:moveTo>
                <a:lnTo>
                  <a:pt x="1714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171450" y="114300"/>
                </a:lnTo>
                <a:lnTo>
                  <a:pt x="171450" y="152400"/>
                </a:lnTo>
                <a:lnTo>
                  <a:pt x="228600" y="76200"/>
                </a:lnTo>
                <a:lnTo>
                  <a:pt x="171450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2971800" y="1752600"/>
            <a:ext cx="228600" cy="152400"/>
          </a:xfrm>
          <a:custGeom>
            <a:avLst/>
            <a:gdLst/>
            <a:ahLst/>
            <a:cxnLst/>
            <a:rect l="l" t="t" r="r" b="b"/>
            <a:pathLst>
              <a:path w="228600" h="152400">
                <a:moveTo>
                  <a:pt x="0" y="38100"/>
                </a:moveTo>
                <a:lnTo>
                  <a:pt x="171450" y="38100"/>
                </a:lnTo>
                <a:lnTo>
                  <a:pt x="171450" y="0"/>
                </a:lnTo>
                <a:lnTo>
                  <a:pt x="228600" y="76200"/>
                </a:lnTo>
                <a:lnTo>
                  <a:pt x="171450" y="152400"/>
                </a:lnTo>
                <a:lnTo>
                  <a:pt x="171450" y="114300"/>
                </a:lnTo>
                <a:lnTo>
                  <a:pt x="0" y="114300"/>
                </a:lnTo>
                <a:lnTo>
                  <a:pt x="0" y="38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422903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" y="291779"/>
            <a:ext cx="9143999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altLang="en-US" kern="0" dirty="0" smtClean="0"/>
              <a:t>  Lesson Objective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66800" y="1371600"/>
            <a:ext cx="6553200" cy="470898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lvl="1" indent="-285750"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</a:pPr>
            <a:r>
              <a:rPr lang="en-US" altLang="en-US" sz="2400" dirty="0" smtClean="0">
                <a:latin typeface="Arial"/>
                <a:cs typeface="Arial"/>
              </a:rPr>
              <a:t> Sales and distribution 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Purpose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Use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Challenge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Arial"/>
                <a:cs typeface="Arial"/>
              </a:rPr>
              <a:t>Overview of Sales &amp; Distribution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Organization Structure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Master Data 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Utilities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Special Process in SD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Integration 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Arial"/>
                <a:cs typeface="Arial"/>
              </a:rPr>
              <a:t>Organization Structure Definition 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Arial"/>
                <a:cs typeface="Arial"/>
              </a:rPr>
              <a:t>Master Data Detail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Arial"/>
                <a:cs typeface="Arial"/>
              </a:rPr>
              <a:t>Utilities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Pricing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Text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882640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pecial Process in</a:t>
            </a:r>
            <a:r>
              <a:rPr spc="-55" dirty="0"/>
              <a:t> </a:t>
            </a:r>
            <a:r>
              <a:rPr spc="5" dirty="0"/>
              <a:t>SD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304800" y="1447800"/>
            <a:ext cx="3657600" cy="2349500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6830" rIns="0" bIns="0" rtlCol="0">
            <a:spAutoFit/>
          </a:bodyPr>
          <a:lstStyle/>
          <a:p>
            <a:pPr marL="90805" marR="128905">
              <a:lnSpc>
                <a:spcPct val="100099"/>
              </a:lnSpc>
              <a:spcBef>
                <a:spcPts val="290"/>
              </a:spcBef>
            </a:pPr>
            <a:r>
              <a:rPr sz="2200" b="1" spc="-5" dirty="0">
                <a:latin typeface="Times New Roman"/>
                <a:cs typeface="Times New Roman"/>
              </a:rPr>
              <a:t>Make-to-order </a:t>
            </a:r>
            <a:r>
              <a:rPr sz="1800" dirty="0">
                <a:latin typeface="Times New Roman"/>
                <a:cs typeface="Times New Roman"/>
              </a:rPr>
              <a:t>production </a:t>
            </a:r>
            <a:r>
              <a:rPr sz="1800" spc="-5" dirty="0">
                <a:latin typeface="Times New Roman"/>
                <a:cs typeface="Times New Roman"/>
              </a:rPr>
              <a:t>is </a:t>
            </a:r>
            <a:r>
              <a:rPr sz="1800" dirty="0">
                <a:latin typeface="Times New Roman"/>
                <a:cs typeface="Times New Roman"/>
              </a:rPr>
              <a:t>a  process in which a product </a:t>
            </a:r>
            <a:r>
              <a:rPr sz="1800" spc="-5" dirty="0">
                <a:latin typeface="Times New Roman"/>
                <a:cs typeface="Times New Roman"/>
              </a:rPr>
              <a:t>is  </a:t>
            </a:r>
            <a:r>
              <a:rPr sz="1800" dirty="0">
                <a:latin typeface="Times New Roman"/>
                <a:cs typeface="Times New Roman"/>
              </a:rPr>
              <a:t>individually manufactured for a  particular </a:t>
            </a:r>
            <a:r>
              <a:rPr sz="1800" spc="-15" dirty="0">
                <a:latin typeface="Times New Roman"/>
                <a:cs typeface="Times New Roman"/>
              </a:rPr>
              <a:t>customer. </a:t>
            </a:r>
            <a:r>
              <a:rPr sz="1800" dirty="0">
                <a:latin typeface="Times New Roman"/>
                <a:cs typeface="Times New Roman"/>
              </a:rPr>
              <a:t>In</a:t>
            </a:r>
            <a:r>
              <a:rPr sz="1800" spc="-7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make-to-order  production a material </a:t>
            </a:r>
            <a:r>
              <a:rPr sz="1800" spc="-5" dirty="0">
                <a:latin typeface="Times New Roman"/>
                <a:cs typeface="Times New Roman"/>
              </a:rPr>
              <a:t>is </a:t>
            </a:r>
            <a:r>
              <a:rPr sz="1800" dirty="0">
                <a:latin typeface="Times New Roman"/>
                <a:cs typeface="Times New Roman"/>
              </a:rPr>
              <a:t>created only  once though the </a:t>
            </a:r>
            <a:r>
              <a:rPr sz="1800" spc="-5" dirty="0">
                <a:latin typeface="Times New Roman"/>
                <a:cs typeface="Times New Roman"/>
              </a:rPr>
              <a:t>same </a:t>
            </a:r>
            <a:r>
              <a:rPr sz="1800" dirty="0">
                <a:latin typeface="Times New Roman"/>
                <a:cs typeface="Times New Roman"/>
              </a:rPr>
              <a:t>or a </a:t>
            </a:r>
            <a:r>
              <a:rPr sz="1800" spc="-5" dirty="0">
                <a:latin typeface="Times New Roman"/>
                <a:cs typeface="Times New Roman"/>
              </a:rPr>
              <a:t>similar  </a:t>
            </a:r>
            <a:r>
              <a:rPr sz="1800" dirty="0">
                <a:latin typeface="Times New Roman"/>
                <a:cs typeface="Times New Roman"/>
              </a:rPr>
              <a:t>production process </a:t>
            </a:r>
            <a:r>
              <a:rPr sz="1800" spc="-5" dirty="0">
                <a:latin typeface="Times New Roman"/>
                <a:cs typeface="Times New Roman"/>
              </a:rPr>
              <a:t>might </a:t>
            </a:r>
            <a:r>
              <a:rPr sz="1800" dirty="0">
                <a:latin typeface="Times New Roman"/>
                <a:cs typeface="Times New Roman"/>
              </a:rPr>
              <a:t>be</a:t>
            </a:r>
            <a:r>
              <a:rPr sz="1800" spc="-9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repeated  at a later</a:t>
            </a:r>
            <a:r>
              <a:rPr sz="1800" spc="-105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time.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81007" y="1473246"/>
            <a:ext cx="3657600" cy="2349500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7465" rIns="0" bIns="0" rtlCol="0">
            <a:spAutoFit/>
          </a:bodyPr>
          <a:lstStyle/>
          <a:p>
            <a:pPr marL="92075" marR="150495">
              <a:lnSpc>
                <a:spcPct val="100099"/>
              </a:lnSpc>
              <a:spcBef>
                <a:spcPts val="295"/>
              </a:spcBef>
            </a:pPr>
            <a:r>
              <a:rPr sz="2200" b="1" spc="-5" dirty="0">
                <a:latin typeface="Times New Roman"/>
                <a:cs typeface="Times New Roman"/>
              </a:rPr>
              <a:t>Rush Order </a:t>
            </a:r>
            <a:r>
              <a:rPr sz="1800" spc="-5" dirty="0">
                <a:latin typeface="Times New Roman"/>
                <a:cs typeface="Times New Roman"/>
              </a:rPr>
              <a:t>document </a:t>
            </a:r>
            <a:r>
              <a:rPr sz="1800" spc="5" dirty="0">
                <a:latin typeface="Times New Roman"/>
                <a:cs typeface="Times New Roman"/>
              </a:rPr>
              <a:t>type  </a:t>
            </a:r>
            <a:r>
              <a:rPr sz="1800" dirty="0">
                <a:latin typeface="Times New Roman"/>
                <a:cs typeface="Times New Roman"/>
              </a:rPr>
              <a:t>ensures that Delivery </a:t>
            </a:r>
            <a:r>
              <a:rPr sz="1800" spc="-5" dirty="0">
                <a:latin typeface="Times New Roman"/>
                <a:cs typeface="Times New Roman"/>
              </a:rPr>
              <a:t>is </a:t>
            </a:r>
            <a:r>
              <a:rPr sz="1800" dirty="0">
                <a:latin typeface="Times New Roman"/>
                <a:cs typeface="Times New Roman"/>
              </a:rPr>
              <a:t>created  automatically in background. This </a:t>
            </a:r>
            <a:r>
              <a:rPr sz="1800" spc="-5" dirty="0">
                <a:latin typeface="Times New Roman"/>
                <a:cs typeface="Times New Roman"/>
              </a:rPr>
              <a:t>is  </a:t>
            </a:r>
            <a:r>
              <a:rPr sz="1800" dirty="0">
                <a:latin typeface="Times New Roman"/>
                <a:cs typeface="Times New Roman"/>
              </a:rPr>
              <a:t>relevant where customer picks up</a:t>
            </a:r>
            <a:r>
              <a:rPr sz="1800" spc="-14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the  goods </a:t>
            </a:r>
            <a:r>
              <a:rPr sz="1800" spc="-10" dirty="0">
                <a:latin typeface="Times New Roman"/>
                <a:cs typeface="Times New Roman"/>
              </a:rPr>
              <a:t>directly. </a:t>
            </a:r>
            <a:r>
              <a:rPr sz="1800" dirty="0">
                <a:latin typeface="Times New Roman"/>
                <a:cs typeface="Times New Roman"/>
              </a:rPr>
              <a:t>Once the billing  </a:t>
            </a:r>
            <a:r>
              <a:rPr sz="1800" spc="-5" dirty="0">
                <a:latin typeface="Times New Roman"/>
                <a:cs typeface="Times New Roman"/>
              </a:rPr>
              <a:t>documents </a:t>
            </a:r>
            <a:r>
              <a:rPr sz="1800" dirty="0">
                <a:latin typeface="Times New Roman"/>
                <a:cs typeface="Times New Roman"/>
              </a:rPr>
              <a:t>are created, invoice  papers are printed and </a:t>
            </a:r>
            <a:r>
              <a:rPr sz="1800" spc="-5" dirty="0">
                <a:latin typeface="Times New Roman"/>
                <a:cs typeface="Times New Roman"/>
              </a:rPr>
              <a:t>sent </a:t>
            </a:r>
            <a:r>
              <a:rPr sz="1800" dirty="0">
                <a:latin typeface="Times New Roman"/>
                <a:cs typeface="Times New Roman"/>
              </a:rPr>
              <a:t>to the  </a:t>
            </a:r>
            <a:r>
              <a:rPr sz="1800" spc="-15" dirty="0">
                <a:latin typeface="Times New Roman"/>
                <a:cs typeface="Times New Roman"/>
              </a:rPr>
              <a:t>customer.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4800" y="3914775"/>
            <a:ext cx="3657600" cy="240982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7465" rIns="0" bIns="0" rtlCol="0">
            <a:spAutoFit/>
          </a:bodyPr>
          <a:lstStyle/>
          <a:p>
            <a:pPr marL="90805" marR="137795">
              <a:lnSpc>
                <a:spcPct val="100099"/>
              </a:lnSpc>
              <a:spcBef>
                <a:spcPts val="295"/>
              </a:spcBef>
            </a:pPr>
            <a:r>
              <a:rPr sz="2200" b="1" spc="-5" dirty="0">
                <a:latin typeface="Times New Roman"/>
                <a:cs typeface="Times New Roman"/>
              </a:rPr>
              <a:t>Configurable materials in  Sales Documents </a:t>
            </a:r>
            <a:r>
              <a:rPr sz="1800" dirty="0">
                <a:latin typeface="Times New Roman"/>
                <a:cs typeface="Times New Roman"/>
              </a:rPr>
              <a:t>are complex  products that can produced in  </a:t>
            </a:r>
            <a:r>
              <a:rPr sz="1800" spc="-5" dirty="0">
                <a:latin typeface="Times New Roman"/>
                <a:cs typeface="Times New Roman"/>
              </a:rPr>
              <a:t>different </a:t>
            </a:r>
            <a:r>
              <a:rPr sz="1800" dirty="0">
                <a:latin typeface="Times New Roman"/>
                <a:cs typeface="Times New Roman"/>
              </a:rPr>
              <a:t>variants. For example, cars  have </a:t>
            </a:r>
            <a:r>
              <a:rPr sz="1800" spc="-5" dirty="0">
                <a:latin typeface="Times New Roman"/>
                <a:cs typeface="Times New Roman"/>
              </a:rPr>
              <a:t>different </a:t>
            </a:r>
            <a:r>
              <a:rPr sz="1800" dirty="0">
                <a:latin typeface="Times New Roman"/>
                <a:cs typeface="Times New Roman"/>
              </a:rPr>
              <a:t>paintwork, upholstery  and </a:t>
            </a:r>
            <a:r>
              <a:rPr sz="1800" spc="-5" dirty="0">
                <a:latin typeface="Times New Roman"/>
                <a:cs typeface="Times New Roman"/>
              </a:rPr>
              <a:t>different-sized </a:t>
            </a:r>
            <a:r>
              <a:rPr sz="1800" dirty="0">
                <a:latin typeface="Times New Roman"/>
                <a:cs typeface="Times New Roman"/>
              </a:rPr>
              <a:t>engines. </a:t>
            </a:r>
            <a:r>
              <a:rPr sz="1800" spc="-65" dirty="0">
                <a:latin typeface="Times New Roman"/>
                <a:cs typeface="Times New Roman"/>
              </a:rPr>
              <a:t>You </a:t>
            </a:r>
            <a:r>
              <a:rPr sz="1800" dirty="0">
                <a:latin typeface="Times New Roman"/>
                <a:cs typeface="Times New Roman"/>
              </a:rPr>
              <a:t>can  configure a product depending on</a:t>
            </a:r>
            <a:r>
              <a:rPr sz="1800" spc="-13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the  </a:t>
            </a:r>
            <a:r>
              <a:rPr sz="1800" spc="-5" dirty="0">
                <a:latin typeface="Times New Roman"/>
                <a:cs typeface="Times New Roman"/>
              </a:rPr>
              <a:t>Customer’s</a:t>
            </a:r>
            <a:r>
              <a:rPr sz="1800" spc="-11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requirement.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800600" y="3886200"/>
            <a:ext cx="3657600" cy="2349500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37465" rIns="0" bIns="0" rtlCol="0">
            <a:spAutoFit/>
          </a:bodyPr>
          <a:lstStyle/>
          <a:p>
            <a:pPr marL="92075" marR="123189">
              <a:lnSpc>
                <a:spcPct val="100099"/>
              </a:lnSpc>
              <a:spcBef>
                <a:spcPts val="295"/>
              </a:spcBef>
            </a:pPr>
            <a:r>
              <a:rPr sz="2200" b="1" spc="-5" dirty="0">
                <a:latin typeface="Times New Roman"/>
                <a:cs typeface="Times New Roman"/>
              </a:rPr>
              <a:t>Returnable packaging</a:t>
            </a:r>
            <a:r>
              <a:rPr sz="2200" b="1" spc="-35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consists  </a:t>
            </a:r>
            <a:r>
              <a:rPr sz="1800" dirty="0">
                <a:latin typeface="Times New Roman"/>
                <a:cs typeface="Times New Roman"/>
              </a:rPr>
              <a:t>of materials that are stored at the  customer location but which remain  the property of </a:t>
            </a:r>
            <a:r>
              <a:rPr sz="1800" spc="5" dirty="0">
                <a:latin typeface="Times New Roman"/>
                <a:cs typeface="Times New Roman"/>
              </a:rPr>
              <a:t>your </a:t>
            </a:r>
            <a:r>
              <a:rPr sz="1800" spc="-15" dirty="0">
                <a:latin typeface="Times New Roman"/>
                <a:cs typeface="Times New Roman"/>
              </a:rPr>
              <a:t>company. </a:t>
            </a:r>
            <a:r>
              <a:rPr sz="1800" dirty="0">
                <a:latin typeface="Times New Roman"/>
                <a:cs typeface="Times New Roman"/>
              </a:rPr>
              <a:t>The  </a:t>
            </a:r>
            <a:r>
              <a:rPr sz="1800" spc="-5" dirty="0">
                <a:latin typeface="Times New Roman"/>
                <a:cs typeface="Times New Roman"/>
              </a:rPr>
              <a:t>customer </a:t>
            </a:r>
            <a:r>
              <a:rPr sz="1800" dirty="0">
                <a:latin typeface="Times New Roman"/>
                <a:cs typeface="Times New Roman"/>
              </a:rPr>
              <a:t>is only required to </a:t>
            </a:r>
            <a:r>
              <a:rPr sz="1800" spc="-5" dirty="0">
                <a:latin typeface="Times New Roman"/>
                <a:cs typeface="Times New Roman"/>
              </a:rPr>
              <a:t>pay </a:t>
            </a:r>
            <a:r>
              <a:rPr sz="1800" spc="5" dirty="0">
                <a:latin typeface="Times New Roman"/>
                <a:cs typeface="Times New Roman"/>
              </a:rPr>
              <a:t>you  </a:t>
            </a:r>
            <a:r>
              <a:rPr sz="1800" dirty="0">
                <a:latin typeface="Times New Roman"/>
                <a:cs typeface="Times New Roman"/>
              </a:rPr>
              <a:t>for the returnable packaging if he  does not return it to </a:t>
            </a:r>
            <a:r>
              <a:rPr sz="1800" spc="5" dirty="0">
                <a:latin typeface="Times New Roman"/>
                <a:cs typeface="Times New Roman"/>
              </a:rPr>
              <a:t>you </a:t>
            </a:r>
            <a:r>
              <a:rPr sz="1800" dirty="0">
                <a:latin typeface="Times New Roman"/>
                <a:cs typeface="Times New Roman"/>
              </a:rPr>
              <a:t>by a  specified </a:t>
            </a:r>
            <a:r>
              <a:rPr sz="1800" spc="-5" dirty="0">
                <a:latin typeface="Times New Roman"/>
                <a:cs typeface="Times New Roman"/>
              </a:rPr>
              <a:t>time, </a:t>
            </a:r>
            <a:r>
              <a:rPr sz="1800" dirty="0">
                <a:latin typeface="Times New Roman"/>
                <a:cs typeface="Times New Roman"/>
              </a:rPr>
              <a:t>for example</a:t>
            </a:r>
            <a:r>
              <a:rPr sz="1800" spc="-10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pallets.</a:t>
            </a:r>
            <a:endParaRPr sz="18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895600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Integration</a:t>
            </a:r>
          </a:p>
        </p:txBody>
      </p:sp>
      <p:sp>
        <p:nvSpPr>
          <p:cNvPr id="5" name="object 5"/>
          <p:cNvSpPr/>
          <p:nvPr/>
        </p:nvSpPr>
        <p:spPr>
          <a:xfrm>
            <a:off x="1884426" y="1303400"/>
            <a:ext cx="477774" cy="45687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363851" y="1295412"/>
            <a:ext cx="5535930" cy="45565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387854" y="1318133"/>
            <a:ext cx="5536946" cy="455561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375280" y="1306766"/>
            <a:ext cx="5536946" cy="455650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606675" y="1600200"/>
            <a:ext cx="1612900" cy="527050"/>
          </a:xfrm>
          <a:prstGeom prst="rect">
            <a:avLst/>
          </a:prstGeom>
          <a:solidFill>
            <a:srgbClr val="CCCCFF"/>
          </a:solidFill>
          <a:ln w="8255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6995">
              <a:lnSpc>
                <a:spcPct val="100000"/>
              </a:lnSpc>
              <a:spcBef>
                <a:spcPts val="260"/>
              </a:spcBef>
            </a:pPr>
            <a:r>
              <a:rPr sz="2000" dirty="0">
                <a:latin typeface="Times New Roman"/>
                <a:cs typeface="Times New Roman"/>
              </a:rPr>
              <a:t>Sales</a:t>
            </a:r>
            <a:r>
              <a:rPr sz="2000" spc="-8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upport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19375" y="3549650"/>
            <a:ext cx="1612900" cy="527050"/>
          </a:xfrm>
          <a:prstGeom prst="rect">
            <a:avLst/>
          </a:prstGeom>
          <a:solidFill>
            <a:srgbClr val="CCCCFF"/>
          </a:solidFill>
          <a:ln w="8255">
            <a:solidFill>
              <a:srgbClr val="000000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342265">
              <a:lnSpc>
                <a:spcPct val="100000"/>
              </a:lnSpc>
              <a:spcBef>
                <a:spcPts val="265"/>
              </a:spcBef>
            </a:pPr>
            <a:r>
              <a:rPr sz="2000" dirty="0">
                <a:latin typeface="Times New Roman"/>
                <a:cs typeface="Times New Roman"/>
              </a:rPr>
              <a:t>Shipping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584700" y="3335401"/>
            <a:ext cx="3162935" cy="982344"/>
          </a:xfrm>
          <a:custGeom>
            <a:avLst/>
            <a:gdLst/>
            <a:ahLst/>
            <a:cxnLst/>
            <a:rect l="l" t="t" r="r" b="b"/>
            <a:pathLst>
              <a:path w="3162934" h="982345">
                <a:moveTo>
                  <a:pt x="3162680" y="0"/>
                </a:moveTo>
                <a:lnTo>
                  <a:pt x="1095375" y="0"/>
                </a:lnTo>
                <a:lnTo>
                  <a:pt x="0" y="490981"/>
                </a:lnTo>
                <a:lnTo>
                  <a:pt x="1095375" y="982091"/>
                </a:lnTo>
                <a:lnTo>
                  <a:pt x="3162680" y="982091"/>
                </a:lnTo>
                <a:lnTo>
                  <a:pt x="316268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608829" y="3360292"/>
            <a:ext cx="3163570" cy="983615"/>
          </a:xfrm>
          <a:custGeom>
            <a:avLst/>
            <a:gdLst/>
            <a:ahLst/>
            <a:cxnLst/>
            <a:rect l="l" t="t" r="r" b="b"/>
            <a:pathLst>
              <a:path w="3163570" h="983614">
                <a:moveTo>
                  <a:pt x="3163570" y="0"/>
                </a:moveTo>
                <a:lnTo>
                  <a:pt x="1095248" y="0"/>
                </a:lnTo>
                <a:lnTo>
                  <a:pt x="0" y="491109"/>
                </a:lnTo>
                <a:lnTo>
                  <a:pt x="1095248" y="983107"/>
                </a:lnTo>
                <a:lnTo>
                  <a:pt x="3163570" y="983107"/>
                </a:lnTo>
                <a:lnTo>
                  <a:pt x="316357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97272" y="3347339"/>
            <a:ext cx="3162935" cy="983615"/>
          </a:xfrm>
          <a:custGeom>
            <a:avLst/>
            <a:gdLst/>
            <a:ahLst/>
            <a:cxnLst/>
            <a:rect l="l" t="t" r="r" b="b"/>
            <a:pathLst>
              <a:path w="3162934" h="983614">
                <a:moveTo>
                  <a:pt x="3162554" y="0"/>
                </a:moveTo>
                <a:lnTo>
                  <a:pt x="1095248" y="0"/>
                </a:lnTo>
                <a:lnTo>
                  <a:pt x="0" y="491998"/>
                </a:lnTo>
                <a:lnTo>
                  <a:pt x="1095248" y="983107"/>
                </a:lnTo>
                <a:lnTo>
                  <a:pt x="3162554" y="983107"/>
                </a:lnTo>
                <a:lnTo>
                  <a:pt x="316255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597272" y="3347339"/>
            <a:ext cx="3162935" cy="983615"/>
          </a:xfrm>
          <a:custGeom>
            <a:avLst/>
            <a:gdLst/>
            <a:ahLst/>
            <a:cxnLst/>
            <a:rect l="l" t="t" r="r" b="b"/>
            <a:pathLst>
              <a:path w="3162934" h="983614">
                <a:moveTo>
                  <a:pt x="1095248" y="0"/>
                </a:moveTo>
                <a:lnTo>
                  <a:pt x="3162554" y="0"/>
                </a:lnTo>
                <a:lnTo>
                  <a:pt x="3162554" y="983107"/>
                </a:lnTo>
                <a:lnTo>
                  <a:pt x="1095248" y="983107"/>
                </a:lnTo>
                <a:lnTo>
                  <a:pt x="0" y="491998"/>
                </a:lnTo>
                <a:lnTo>
                  <a:pt x="1095248" y="0"/>
                </a:lnTo>
                <a:close/>
              </a:path>
            </a:pathLst>
          </a:custGeom>
          <a:ln w="825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5842761" y="3669792"/>
            <a:ext cx="165798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Materials</a:t>
            </a:r>
            <a:r>
              <a:rPr sz="1200" b="1" spc="-14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anagement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Financial</a:t>
            </a:r>
            <a:r>
              <a:rPr sz="1200" b="1" spc="-15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Account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584700" y="4630673"/>
            <a:ext cx="3162935" cy="982344"/>
          </a:xfrm>
          <a:custGeom>
            <a:avLst/>
            <a:gdLst/>
            <a:ahLst/>
            <a:cxnLst/>
            <a:rect l="l" t="t" r="r" b="b"/>
            <a:pathLst>
              <a:path w="3162934" h="982345">
                <a:moveTo>
                  <a:pt x="3162680" y="0"/>
                </a:moveTo>
                <a:lnTo>
                  <a:pt x="1095375" y="0"/>
                </a:lnTo>
                <a:lnTo>
                  <a:pt x="0" y="491108"/>
                </a:lnTo>
                <a:lnTo>
                  <a:pt x="1095375" y="982179"/>
                </a:lnTo>
                <a:lnTo>
                  <a:pt x="3162680" y="982179"/>
                </a:lnTo>
                <a:lnTo>
                  <a:pt x="316268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608829" y="4656709"/>
            <a:ext cx="3163570" cy="982344"/>
          </a:xfrm>
          <a:custGeom>
            <a:avLst/>
            <a:gdLst/>
            <a:ahLst/>
            <a:cxnLst/>
            <a:rect l="l" t="t" r="r" b="b"/>
            <a:pathLst>
              <a:path w="3163570" h="982345">
                <a:moveTo>
                  <a:pt x="3163570" y="0"/>
                </a:moveTo>
                <a:lnTo>
                  <a:pt x="1095248" y="0"/>
                </a:lnTo>
                <a:lnTo>
                  <a:pt x="0" y="490982"/>
                </a:lnTo>
                <a:lnTo>
                  <a:pt x="1095248" y="982091"/>
                </a:lnTo>
                <a:lnTo>
                  <a:pt x="3163570" y="982091"/>
                </a:lnTo>
                <a:lnTo>
                  <a:pt x="316357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597272" y="4643754"/>
            <a:ext cx="3162935" cy="982344"/>
          </a:xfrm>
          <a:custGeom>
            <a:avLst/>
            <a:gdLst/>
            <a:ahLst/>
            <a:cxnLst/>
            <a:rect l="l" t="t" r="r" b="b"/>
            <a:pathLst>
              <a:path w="3162934" h="982345">
                <a:moveTo>
                  <a:pt x="3162554" y="0"/>
                </a:moveTo>
                <a:lnTo>
                  <a:pt x="1095248" y="0"/>
                </a:lnTo>
                <a:lnTo>
                  <a:pt x="0" y="490982"/>
                </a:lnTo>
                <a:lnTo>
                  <a:pt x="1095248" y="982065"/>
                </a:lnTo>
                <a:lnTo>
                  <a:pt x="3162554" y="982065"/>
                </a:lnTo>
                <a:lnTo>
                  <a:pt x="316255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619375" y="4810125"/>
            <a:ext cx="1612900" cy="527050"/>
          </a:xfrm>
          <a:prstGeom prst="rect">
            <a:avLst/>
          </a:prstGeom>
          <a:solidFill>
            <a:srgbClr val="CCCCFF"/>
          </a:solidFill>
          <a:ln w="8255">
            <a:solidFill>
              <a:srgbClr val="000000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448945">
              <a:lnSpc>
                <a:spcPct val="100000"/>
              </a:lnSpc>
              <a:spcBef>
                <a:spcPts val="265"/>
              </a:spcBef>
            </a:pPr>
            <a:r>
              <a:rPr sz="2000" spc="-5" dirty="0">
                <a:latin typeface="Times New Roman"/>
                <a:cs typeface="Times New Roman"/>
              </a:rPr>
              <a:t>Billing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07796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0871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0962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0539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11599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1270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13620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453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15498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1641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7327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824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930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20408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21323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22237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23152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24067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25030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2594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2700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28116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29020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2994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30849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31774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32678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33602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34699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35764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3667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37641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38558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3947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40387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4129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42408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43473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4438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45302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46213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4717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4808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49007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5010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51169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5208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52998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5391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54827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55738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56704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57765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1553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58824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5979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60694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6161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162536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63447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16436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16542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16652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67438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68349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69315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17023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171143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72061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173117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17423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175147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76058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176975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77887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78852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179769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180826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8192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182843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8375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184672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185583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18650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187412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18852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189587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190498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191463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92381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193292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194209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195121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19623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197283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198195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199112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1073150" y="3000375"/>
            <a:ext cx="916940" cy="800735"/>
          </a:xfrm>
          <a:custGeom>
            <a:avLst/>
            <a:gdLst/>
            <a:ahLst/>
            <a:cxnLst/>
            <a:rect l="l" t="t" r="r" b="b"/>
            <a:pathLst>
              <a:path w="916939" h="800735">
                <a:moveTo>
                  <a:pt x="458343" y="0"/>
                </a:moveTo>
                <a:lnTo>
                  <a:pt x="365887" y="3937"/>
                </a:lnTo>
                <a:lnTo>
                  <a:pt x="280162" y="9271"/>
                </a:lnTo>
                <a:lnTo>
                  <a:pt x="203200" y="17272"/>
                </a:lnTo>
                <a:lnTo>
                  <a:pt x="135750" y="30607"/>
                </a:lnTo>
                <a:lnTo>
                  <a:pt x="79908" y="46609"/>
                </a:lnTo>
                <a:lnTo>
                  <a:pt x="36588" y="63880"/>
                </a:lnTo>
                <a:lnTo>
                  <a:pt x="2882" y="94487"/>
                </a:lnTo>
                <a:lnTo>
                  <a:pt x="0" y="102488"/>
                </a:lnTo>
                <a:lnTo>
                  <a:pt x="0" y="703072"/>
                </a:lnTo>
                <a:lnTo>
                  <a:pt x="36588" y="740410"/>
                </a:lnTo>
                <a:lnTo>
                  <a:pt x="79908" y="757682"/>
                </a:lnTo>
                <a:lnTo>
                  <a:pt x="104940" y="766952"/>
                </a:lnTo>
                <a:lnTo>
                  <a:pt x="135750" y="771017"/>
                </a:lnTo>
                <a:lnTo>
                  <a:pt x="203200" y="782955"/>
                </a:lnTo>
                <a:lnTo>
                  <a:pt x="280162" y="792352"/>
                </a:lnTo>
                <a:lnTo>
                  <a:pt x="365887" y="800354"/>
                </a:lnTo>
                <a:lnTo>
                  <a:pt x="550672" y="800354"/>
                </a:lnTo>
                <a:lnTo>
                  <a:pt x="636397" y="792352"/>
                </a:lnTo>
                <a:lnTo>
                  <a:pt x="713358" y="782955"/>
                </a:lnTo>
                <a:lnTo>
                  <a:pt x="780795" y="771017"/>
                </a:lnTo>
                <a:lnTo>
                  <a:pt x="811657" y="766952"/>
                </a:lnTo>
                <a:lnTo>
                  <a:pt x="860679" y="749681"/>
                </a:lnTo>
                <a:lnTo>
                  <a:pt x="895350" y="732408"/>
                </a:lnTo>
                <a:lnTo>
                  <a:pt x="916558" y="703072"/>
                </a:lnTo>
                <a:lnTo>
                  <a:pt x="916558" y="102488"/>
                </a:lnTo>
                <a:lnTo>
                  <a:pt x="879982" y="63880"/>
                </a:lnTo>
                <a:lnTo>
                  <a:pt x="860679" y="55879"/>
                </a:lnTo>
                <a:lnTo>
                  <a:pt x="839597" y="46609"/>
                </a:lnTo>
                <a:lnTo>
                  <a:pt x="780795" y="30607"/>
                </a:lnTo>
                <a:lnTo>
                  <a:pt x="713358" y="17272"/>
                </a:lnTo>
                <a:lnTo>
                  <a:pt x="636397" y="9271"/>
                </a:lnTo>
                <a:lnTo>
                  <a:pt x="550672" y="3937"/>
                </a:lnTo>
                <a:lnTo>
                  <a:pt x="458343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1073150" y="3000375"/>
            <a:ext cx="916940" cy="800735"/>
          </a:xfrm>
          <a:custGeom>
            <a:avLst/>
            <a:gdLst/>
            <a:ahLst/>
            <a:cxnLst/>
            <a:rect l="l" t="t" r="r" b="b"/>
            <a:pathLst>
              <a:path w="916939" h="800735">
                <a:moveTo>
                  <a:pt x="458343" y="0"/>
                </a:moveTo>
                <a:lnTo>
                  <a:pt x="550672" y="3937"/>
                </a:lnTo>
                <a:lnTo>
                  <a:pt x="636397" y="9271"/>
                </a:lnTo>
                <a:lnTo>
                  <a:pt x="713358" y="17272"/>
                </a:lnTo>
                <a:lnTo>
                  <a:pt x="780795" y="30607"/>
                </a:lnTo>
                <a:lnTo>
                  <a:pt x="839597" y="46609"/>
                </a:lnTo>
                <a:lnTo>
                  <a:pt x="860679" y="55879"/>
                </a:lnTo>
                <a:lnTo>
                  <a:pt x="879982" y="63880"/>
                </a:lnTo>
                <a:lnTo>
                  <a:pt x="895350" y="73278"/>
                </a:lnTo>
                <a:lnTo>
                  <a:pt x="906907" y="81279"/>
                </a:lnTo>
                <a:lnTo>
                  <a:pt x="913638" y="94487"/>
                </a:lnTo>
                <a:lnTo>
                  <a:pt x="916558" y="102488"/>
                </a:lnTo>
                <a:lnTo>
                  <a:pt x="916558" y="703072"/>
                </a:lnTo>
                <a:lnTo>
                  <a:pt x="879982" y="740410"/>
                </a:lnTo>
                <a:lnTo>
                  <a:pt x="839597" y="757682"/>
                </a:lnTo>
                <a:lnTo>
                  <a:pt x="780795" y="771017"/>
                </a:lnTo>
                <a:lnTo>
                  <a:pt x="713358" y="782955"/>
                </a:lnTo>
                <a:lnTo>
                  <a:pt x="636397" y="792352"/>
                </a:lnTo>
                <a:lnTo>
                  <a:pt x="550672" y="800354"/>
                </a:lnTo>
                <a:lnTo>
                  <a:pt x="458343" y="800354"/>
                </a:lnTo>
                <a:lnTo>
                  <a:pt x="365887" y="800354"/>
                </a:lnTo>
                <a:lnTo>
                  <a:pt x="280162" y="792352"/>
                </a:lnTo>
                <a:lnTo>
                  <a:pt x="203200" y="782955"/>
                </a:lnTo>
                <a:lnTo>
                  <a:pt x="135750" y="771017"/>
                </a:lnTo>
                <a:lnTo>
                  <a:pt x="104940" y="766952"/>
                </a:lnTo>
                <a:lnTo>
                  <a:pt x="79908" y="757682"/>
                </a:lnTo>
                <a:lnTo>
                  <a:pt x="55841" y="749681"/>
                </a:lnTo>
                <a:lnTo>
                  <a:pt x="36588" y="740410"/>
                </a:lnTo>
                <a:lnTo>
                  <a:pt x="21183" y="732408"/>
                </a:lnTo>
                <a:lnTo>
                  <a:pt x="9626" y="724407"/>
                </a:lnTo>
                <a:lnTo>
                  <a:pt x="2882" y="711073"/>
                </a:lnTo>
                <a:lnTo>
                  <a:pt x="0" y="703072"/>
                </a:lnTo>
                <a:lnTo>
                  <a:pt x="0" y="102488"/>
                </a:lnTo>
                <a:lnTo>
                  <a:pt x="36588" y="63880"/>
                </a:lnTo>
                <a:lnTo>
                  <a:pt x="79908" y="46609"/>
                </a:lnTo>
                <a:lnTo>
                  <a:pt x="135750" y="30607"/>
                </a:lnTo>
                <a:lnTo>
                  <a:pt x="203200" y="17272"/>
                </a:lnTo>
                <a:lnTo>
                  <a:pt x="280162" y="9271"/>
                </a:lnTo>
                <a:lnTo>
                  <a:pt x="365887" y="3937"/>
                </a:lnTo>
                <a:lnTo>
                  <a:pt x="458343" y="0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1073150" y="3000375"/>
            <a:ext cx="916940" cy="800735"/>
          </a:xfrm>
          <a:custGeom>
            <a:avLst/>
            <a:gdLst/>
            <a:ahLst/>
            <a:cxnLst/>
            <a:rect l="l" t="t" r="r" b="b"/>
            <a:pathLst>
              <a:path w="916939" h="800735">
                <a:moveTo>
                  <a:pt x="458343" y="0"/>
                </a:moveTo>
                <a:lnTo>
                  <a:pt x="365887" y="3937"/>
                </a:lnTo>
                <a:lnTo>
                  <a:pt x="280162" y="9271"/>
                </a:lnTo>
                <a:lnTo>
                  <a:pt x="203200" y="17272"/>
                </a:lnTo>
                <a:lnTo>
                  <a:pt x="135750" y="30607"/>
                </a:lnTo>
                <a:lnTo>
                  <a:pt x="79908" y="46609"/>
                </a:lnTo>
                <a:lnTo>
                  <a:pt x="36588" y="63880"/>
                </a:lnTo>
                <a:lnTo>
                  <a:pt x="2882" y="94487"/>
                </a:lnTo>
                <a:lnTo>
                  <a:pt x="0" y="102488"/>
                </a:lnTo>
                <a:lnTo>
                  <a:pt x="0" y="703072"/>
                </a:lnTo>
                <a:lnTo>
                  <a:pt x="36588" y="740410"/>
                </a:lnTo>
                <a:lnTo>
                  <a:pt x="79908" y="757682"/>
                </a:lnTo>
                <a:lnTo>
                  <a:pt x="104940" y="766952"/>
                </a:lnTo>
                <a:lnTo>
                  <a:pt x="135750" y="771017"/>
                </a:lnTo>
                <a:lnTo>
                  <a:pt x="203200" y="782955"/>
                </a:lnTo>
                <a:lnTo>
                  <a:pt x="280162" y="792352"/>
                </a:lnTo>
                <a:lnTo>
                  <a:pt x="365887" y="800354"/>
                </a:lnTo>
                <a:lnTo>
                  <a:pt x="550672" y="800354"/>
                </a:lnTo>
                <a:lnTo>
                  <a:pt x="636397" y="792352"/>
                </a:lnTo>
                <a:lnTo>
                  <a:pt x="713358" y="782955"/>
                </a:lnTo>
                <a:lnTo>
                  <a:pt x="780795" y="771017"/>
                </a:lnTo>
                <a:lnTo>
                  <a:pt x="811657" y="766952"/>
                </a:lnTo>
                <a:lnTo>
                  <a:pt x="860679" y="749681"/>
                </a:lnTo>
                <a:lnTo>
                  <a:pt x="895350" y="732408"/>
                </a:lnTo>
                <a:lnTo>
                  <a:pt x="916558" y="703072"/>
                </a:lnTo>
                <a:lnTo>
                  <a:pt x="916558" y="102488"/>
                </a:lnTo>
                <a:lnTo>
                  <a:pt x="879982" y="63880"/>
                </a:lnTo>
                <a:lnTo>
                  <a:pt x="860679" y="55879"/>
                </a:lnTo>
                <a:lnTo>
                  <a:pt x="839597" y="46609"/>
                </a:lnTo>
                <a:lnTo>
                  <a:pt x="780795" y="30607"/>
                </a:lnTo>
                <a:lnTo>
                  <a:pt x="713358" y="17272"/>
                </a:lnTo>
                <a:lnTo>
                  <a:pt x="636397" y="9271"/>
                </a:lnTo>
                <a:lnTo>
                  <a:pt x="550672" y="3937"/>
                </a:lnTo>
                <a:lnTo>
                  <a:pt x="458343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107796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10871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10962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110539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111599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11270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113620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11453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115498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11641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117327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11824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11930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120408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121323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122237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123152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124067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125030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12594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12700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128116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129020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12994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130849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131774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132678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133602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1346996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135764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13667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137641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138558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13947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140387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14129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142408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43473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14438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145302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146213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14717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1480834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149007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15010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151169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15208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152998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15391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154827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155738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156704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157765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1553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158824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15979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160694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161619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162536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163447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164364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16542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16652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167438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168349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169315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17023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171143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172061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173117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174230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175147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176058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176975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177887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178852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179769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180826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181926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1828433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183755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1846721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185583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186500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187412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188522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189587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190498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1914639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192381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1932927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1942098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1951215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196231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1251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1972832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198195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1991120" y="3000375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1073150" y="3000375"/>
            <a:ext cx="916940" cy="200025"/>
          </a:xfrm>
          <a:custGeom>
            <a:avLst/>
            <a:gdLst/>
            <a:ahLst/>
            <a:cxnLst/>
            <a:rect l="l" t="t" r="r" b="b"/>
            <a:pathLst>
              <a:path w="916939" h="200025">
                <a:moveTo>
                  <a:pt x="458343" y="0"/>
                </a:moveTo>
                <a:lnTo>
                  <a:pt x="365887" y="3937"/>
                </a:lnTo>
                <a:lnTo>
                  <a:pt x="280162" y="9271"/>
                </a:lnTo>
                <a:lnTo>
                  <a:pt x="203200" y="17272"/>
                </a:lnTo>
                <a:lnTo>
                  <a:pt x="135750" y="30607"/>
                </a:lnTo>
                <a:lnTo>
                  <a:pt x="79908" y="46609"/>
                </a:lnTo>
                <a:lnTo>
                  <a:pt x="36588" y="63880"/>
                </a:lnTo>
                <a:lnTo>
                  <a:pt x="2882" y="94487"/>
                </a:lnTo>
                <a:lnTo>
                  <a:pt x="0" y="102488"/>
                </a:lnTo>
                <a:lnTo>
                  <a:pt x="2882" y="110489"/>
                </a:lnTo>
                <a:lnTo>
                  <a:pt x="36588" y="141097"/>
                </a:lnTo>
                <a:lnTo>
                  <a:pt x="79908" y="157099"/>
                </a:lnTo>
                <a:lnTo>
                  <a:pt x="104940" y="166497"/>
                </a:lnTo>
                <a:lnTo>
                  <a:pt x="135750" y="170434"/>
                </a:lnTo>
                <a:lnTo>
                  <a:pt x="203200" y="183769"/>
                </a:lnTo>
                <a:lnTo>
                  <a:pt x="280162" y="191770"/>
                </a:lnTo>
                <a:lnTo>
                  <a:pt x="365887" y="199771"/>
                </a:lnTo>
                <a:lnTo>
                  <a:pt x="550672" y="199771"/>
                </a:lnTo>
                <a:lnTo>
                  <a:pt x="636397" y="191770"/>
                </a:lnTo>
                <a:lnTo>
                  <a:pt x="713358" y="183769"/>
                </a:lnTo>
                <a:lnTo>
                  <a:pt x="780795" y="170434"/>
                </a:lnTo>
                <a:lnTo>
                  <a:pt x="811657" y="166497"/>
                </a:lnTo>
                <a:lnTo>
                  <a:pt x="860679" y="149098"/>
                </a:lnTo>
                <a:lnTo>
                  <a:pt x="895350" y="131825"/>
                </a:lnTo>
                <a:lnTo>
                  <a:pt x="916558" y="102488"/>
                </a:lnTo>
                <a:lnTo>
                  <a:pt x="913638" y="94487"/>
                </a:lnTo>
                <a:lnTo>
                  <a:pt x="906907" y="81279"/>
                </a:lnTo>
                <a:lnTo>
                  <a:pt x="895350" y="73278"/>
                </a:lnTo>
                <a:lnTo>
                  <a:pt x="879982" y="63880"/>
                </a:lnTo>
                <a:lnTo>
                  <a:pt x="860679" y="55879"/>
                </a:lnTo>
                <a:lnTo>
                  <a:pt x="839597" y="46609"/>
                </a:lnTo>
                <a:lnTo>
                  <a:pt x="780795" y="30607"/>
                </a:lnTo>
                <a:lnTo>
                  <a:pt x="713358" y="17272"/>
                </a:lnTo>
                <a:lnTo>
                  <a:pt x="636397" y="9271"/>
                </a:lnTo>
                <a:lnTo>
                  <a:pt x="550672" y="3937"/>
                </a:lnTo>
                <a:lnTo>
                  <a:pt x="458343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1073150" y="3000375"/>
            <a:ext cx="916940" cy="800735"/>
          </a:xfrm>
          <a:custGeom>
            <a:avLst/>
            <a:gdLst/>
            <a:ahLst/>
            <a:cxnLst/>
            <a:rect l="l" t="t" r="r" b="b"/>
            <a:pathLst>
              <a:path w="916939" h="800735">
                <a:moveTo>
                  <a:pt x="458343" y="0"/>
                </a:moveTo>
                <a:lnTo>
                  <a:pt x="365887" y="3937"/>
                </a:lnTo>
                <a:lnTo>
                  <a:pt x="280162" y="9271"/>
                </a:lnTo>
                <a:lnTo>
                  <a:pt x="203200" y="17272"/>
                </a:lnTo>
                <a:lnTo>
                  <a:pt x="135750" y="30607"/>
                </a:lnTo>
                <a:lnTo>
                  <a:pt x="79908" y="46609"/>
                </a:lnTo>
                <a:lnTo>
                  <a:pt x="36588" y="63880"/>
                </a:lnTo>
                <a:lnTo>
                  <a:pt x="2882" y="94487"/>
                </a:lnTo>
                <a:lnTo>
                  <a:pt x="0" y="102488"/>
                </a:lnTo>
                <a:lnTo>
                  <a:pt x="0" y="703072"/>
                </a:lnTo>
                <a:lnTo>
                  <a:pt x="36588" y="740410"/>
                </a:lnTo>
                <a:lnTo>
                  <a:pt x="79908" y="757682"/>
                </a:lnTo>
                <a:lnTo>
                  <a:pt x="104940" y="766952"/>
                </a:lnTo>
                <a:lnTo>
                  <a:pt x="135750" y="771017"/>
                </a:lnTo>
                <a:lnTo>
                  <a:pt x="203200" y="782955"/>
                </a:lnTo>
                <a:lnTo>
                  <a:pt x="280162" y="792352"/>
                </a:lnTo>
                <a:lnTo>
                  <a:pt x="365887" y="800354"/>
                </a:lnTo>
                <a:lnTo>
                  <a:pt x="550672" y="800354"/>
                </a:lnTo>
                <a:lnTo>
                  <a:pt x="636397" y="792352"/>
                </a:lnTo>
                <a:lnTo>
                  <a:pt x="713358" y="782955"/>
                </a:lnTo>
                <a:lnTo>
                  <a:pt x="780795" y="771017"/>
                </a:lnTo>
                <a:lnTo>
                  <a:pt x="811657" y="766952"/>
                </a:lnTo>
                <a:lnTo>
                  <a:pt x="860679" y="749681"/>
                </a:lnTo>
                <a:lnTo>
                  <a:pt x="895350" y="732408"/>
                </a:lnTo>
                <a:lnTo>
                  <a:pt x="916558" y="703072"/>
                </a:lnTo>
                <a:lnTo>
                  <a:pt x="916558" y="102488"/>
                </a:lnTo>
                <a:lnTo>
                  <a:pt x="879982" y="63880"/>
                </a:lnTo>
                <a:lnTo>
                  <a:pt x="860679" y="55879"/>
                </a:lnTo>
                <a:lnTo>
                  <a:pt x="839597" y="46609"/>
                </a:lnTo>
                <a:lnTo>
                  <a:pt x="780795" y="30607"/>
                </a:lnTo>
                <a:lnTo>
                  <a:pt x="713358" y="17272"/>
                </a:lnTo>
                <a:lnTo>
                  <a:pt x="636397" y="9271"/>
                </a:lnTo>
                <a:lnTo>
                  <a:pt x="550672" y="3937"/>
                </a:lnTo>
                <a:lnTo>
                  <a:pt x="458343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1073150" y="3000375"/>
            <a:ext cx="916940" cy="800735"/>
          </a:xfrm>
          <a:custGeom>
            <a:avLst/>
            <a:gdLst/>
            <a:ahLst/>
            <a:cxnLst/>
            <a:rect l="l" t="t" r="r" b="b"/>
            <a:pathLst>
              <a:path w="916939" h="800735">
                <a:moveTo>
                  <a:pt x="458343" y="0"/>
                </a:moveTo>
                <a:lnTo>
                  <a:pt x="550672" y="3937"/>
                </a:lnTo>
                <a:lnTo>
                  <a:pt x="636397" y="9271"/>
                </a:lnTo>
                <a:lnTo>
                  <a:pt x="713358" y="17272"/>
                </a:lnTo>
                <a:lnTo>
                  <a:pt x="780795" y="30607"/>
                </a:lnTo>
                <a:lnTo>
                  <a:pt x="839597" y="46609"/>
                </a:lnTo>
                <a:lnTo>
                  <a:pt x="860679" y="55879"/>
                </a:lnTo>
                <a:lnTo>
                  <a:pt x="879982" y="63880"/>
                </a:lnTo>
                <a:lnTo>
                  <a:pt x="895350" y="73278"/>
                </a:lnTo>
                <a:lnTo>
                  <a:pt x="906907" y="81279"/>
                </a:lnTo>
                <a:lnTo>
                  <a:pt x="913638" y="94487"/>
                </a:lnTo>
                <a:lnTo>
                  <a:pt x="916558" y="102488"/>
                </a:lnTo>
                <a:lnTo>
                  <a:pt x="916558" y="703072"/>
                </a:lnTo>
                <a:lnTo>
                  <a:pt x="879982" y="740410"/>
                </a:lnTo>
                <a:lnTo>
                  <a:pt x="839597" y="757682"/>
                </a:lnTo>
                <a:lnTo>
                  <a:pt x="780795" y="771017"/>
                </a:lnTo>
                <a:lnTo>
                  <a:pt x="713358" y="782955"/>
                </a:lnTo>
                <a:lnTo>
                  <a:pt x="636397" y="792352"/>
                </a:lnTo>
                <a:lnTo>
                  <a:pt x="550672" y="800354"/>
                </a:lnTo>
                <a:lnTo>
                  <a:pt x="458343" y="800354"/>
                </a:lnTo>
                <a:lnTo>
                  <a:pt x="365887" y="800354"/>
                </a:lnTo>
                <a:lnTo>
                  <a:pt x="280162" y="792352"/>
                </a:lnTo>
                <a:lnTo>
                  <a:pt x="203200" y="782955"/>
                </a:lnTo>
                <a:lnTo>
                  <a:pt x="135750" y="771017"/>
                </a:lnTo>
                <a:lnTo>
                  <a:pt x="104940" y="766952"/>
                </a:lnTo>
                <a:lnTo>
                  <a:pt x="79908" y="757682"/>
                </a:lnTo>
                <a:lnTo>
                  <a:pt x="55841" y="749681"/>
                </a:lnTo>
                <a:lnTo>
                  <a:pt x="36588" y="740410"/>
                </a:lnTo>
                <a:lnTo>
                  <a:pt x="21183" y="732408"/>
                </a:lnTo>
                <a:lnTo>
                  <a:pt x="9626" y="724407"/>
                </a:lnTo>
                <a:lnTo>
                  <a:pt x="2882" y="711073"/>
                </a:lnTo>
                <a:lnTo>
                  <a:pt x="0" y="703072"/>
                </a:lnTo>
                <a:lnTo>
                  <a:pt x="0" y="102488"/>
                </a:lnTo>
                <a:lnTo>
                  <a:pt x="36588" y="63880"/>
                </a:lnTo>
                <a:lnTo>
                  <a:pt x="79908" y="46609"/>
                </a:lnTo>
                <a:lnTo>
                  <a:pt x="135750" y="30607"/>
                </a:lnTo>
                <a:lnTo>
                  <a:pt x="203200" y="17272"/>
                </a:lnTo>
                <a:lnTo>
                  <a:pt x="280162" y="9271"/>
                </a:lnTo>
                <a:lnTo>
                  <a:pt x="365887" y="3937"/>
                </a:lnTo>
                <a:lnTo>
                  <a:pt x="458343" y="0"/>
                </a:lnTo>
                <a:close/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1073150" y="3102864"/>
            <a:ext cx="916940" cy="97790"/>
          </a:xfrm>
          <a:custGeom>
            <a:avLst/>
            <a:gdLst/>
            <a:ahLst/>
            <a:cxnLst/>
            <a:rect l="l" t="t" r="r" b="b"/>
            <a:pathLst>
              <a:path w="916939" h="97789">
                <a:moveTo>
                  <a:pt x="916558" y="0"/>
                </a:moveTo>
                <a:lnTo>
                  <a:pt x="0" y="0"/>
                </a:lnTo>
                <a:lnTo>
                  <a:pt x="2882" y="8000"/>
                </a:lnTo>
                <a:lnTo>
                  <a:pt x="36588" y="38608"/>
                </a:lnTo>
                <a:lnTo>
                  <a:pt x="79908" y="54610"/>
                </a:lnTo>
                <a:lnTo>
                  <a:pt x="104940" y="64008"/>
                </a:lnTo>
                <a:lnTo>
                  <a:pt x="135750" y="67945"/>
                </a:lnTo>
                <a:lnTo>
                  <a:pt x="203200" y="81280"/>
                </a:lnTo>
                <a:lnTo>
                  <a:pt x="280162" y="89281"/>
                </a:lnTo>
                <a:lnTo>
                  <a:pt x="365887" y="97282"/>
                </a:lnTo>
                <a:lnTo>
                  <a:pt x="550672" y="97282"/>
                </a:lnTo>
                <a:lnTo>
                  <a:pt x="636397" y="89281"/>
                </a:lnTo>
                <a:lnTo>
                  <a:pt x="713358" y="81280"/>
                </a:lnTo>
                <a:lnTo>
                  <a:pt x="780795" y="67945"/>
                </a:lnTo>
                <a:lnTo>
                  <a:pt x="811657" y="64008"/>
                </a:lnTo>
                <a:lnTo>
                  <a:pt x="860679" y="46609"/>
                </a:lnTo>
                <a:lnTo>
                  <a:pt x="895350" y="29337"/>
                </a:lnTo>
                <a:lnTo>
                  <a:pt x="913638" y="8000"/>
                </a:lnTo>
                <a:lnTo>
                  <a:pt x="916558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1073150" y="3102864"/>
            <a:ext cx="916940" cy="97790"/>
          </a:xfrm>
          <a:custGeom>
            <a:avLst/>
            <a:gdLst/>
            <a:ahLst/>
            <a:cxnLst/>
            <a:rect l="l" t="t" r="r" b="b"/>
            <a:pathLst>
              <a:path w="916939" h="97789">
                <a:moveTo>
                  <a:pt x="916558" y="0"/>
                </a:moveTo>
                <a:lnTo>
                  <a:pt x="879982" y="38608"/>
                </a:lnTo>
                <a:lnTo>
                  <a:pt x="839597" y="54610"/>
                </a:lnTo>
                <a:lnTo>
                  <a:pt x="780795" y="67945"/>
                </a:lnTo>
                <a:lnTo>
                  <a:pt x="713358" y="81280"/>
                </a:lnTo>
                <a:lnTo>
                  <a:pt x="636397" y="89281"/>
                </a:lnTo>
                <a:lnTo>
                  <a:pt x="550672" y="97282"/>
                </a:lnTo>
                <a:lnTo>
                  <a:pt x="458343" y="97282"/>
                </a:lnTo>
                <a:lnTo>
                  <a:pt x="365887" y="97282"/>
                </a:lnTo>
                <a:lnTo>
                  <a:pt x="280162" y="89281"/>
                </a:lnTo>
                <a:lnTo>
                  <a:pt x="203200" y="81280"/>
                </a:lnTo>
                <a:lnTo>
                  <a:pt x="135750" y="67945"/>
                </a:lnTo>
                <a:lnTo>
                  <a:pt x="104940" y="64008"/>
                </a:lnTo>
                <a:lnTo>
                  <a:pt x="79908" y="54610"/>
                </a:lnTo>
                <a:lnTo>
                  <a:pt x="55841" y="46609"/>
                </a:lnTo>
                <a:lnTo>
                  <a:pt x="36588" y="38608"/>
                </a:lnTo>
                <a:lnTo>
                  <a:pt x="21183" y="29337"/>
                </a:lnTo>
                <a:lnTo>
                  <a:pt x="9626" y="21336"/>
                </a:lnTo>
                <a:lnTo>
                  <a:pt x="2882" y="8000"/>
                </a:lnTo>
                <a:lnTo>
                  <a:pt x="0" y="0"/>
                </a:lnTo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95269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9603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9680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9743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9820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9897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9955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100322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101092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101718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102487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103257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103883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10465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105423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106001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106771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107541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108166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108936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109706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110331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11110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111872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112498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113267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11403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11466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11538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116154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116780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117551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118321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11894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119716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12048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121111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121881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12265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12322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123998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124769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125395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12616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126934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127555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128332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12910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129676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13045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13121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13184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13261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13338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134007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134783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135543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136127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13689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13766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13829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139066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13983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140458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141222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14199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14277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14353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14416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14493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145701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146326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147054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14782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14844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149210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14998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15061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15138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152152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152777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153541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15431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154898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155662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15643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15705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157824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158604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159229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159993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16076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16133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162114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162886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16350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16427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165043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165668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16644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167217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167789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16856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16932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16995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17072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171494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172119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17289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173669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17428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17505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175825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176450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177227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17799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178571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17933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18010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180740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181509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182277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18290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18367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18443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185022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18578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186559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949325" y="3154298"/>
            <a:ext cx="913765" cy="802005"/>
          </a:xfrm>
          <a:custGeom>
            <a:avLst/>
            <a:gdLst/>
            <a:ahLst/>
            <a:cxnLst/>
            <a:rect l="l" t="t" r="r" b="b"/>
            <a:pathLst>
              <a:path w="913764" h="802004">
                <a:moveTo>
                  <a:pt x="550544" y="0"/>
                </a:moveTo>
                <a:lnTo>
                  <a:pt x="365759" y="0"/>
                </a:lnTo>
                <a:lnTo>
                  <a:pt x="203085" y="17399"/>
                </a:lnTo>
                <a:lnTo>
                  <a:pt x="135712" y="30734"/>
                </a:lnTo>
                <a:lnTo>
                  <a:pt x="104914" y="34798"/>
                </a:lnTo>
                <a:lnTo>
                  <a:pt x="55829" y="52070"/>
                </a:lnTo>
                <a:lnTo>
                  <a:pt x="9626" y="77470"/>
                </a:lnTo>
                <a:lnTo>
                  <a:pt x="0" y="98805"/>
                </a:lnTo>
                <a:lnTo>
                  <a:pt x="0" y="699007"/>
                </a:lnTo>
                <a:lnTo>
                  <a:pt x="55829" y="747013"/>
                </a:lnTo>
                <a:lnTo>
                  <a:pt x="104914" y="763015"/>
                </a:lnTo>
                <a:lnTo>
                  <a:pt x="203085" y="784351"/>
                </a:lnTo>
                <a:lnTo>
                  <a:pt x="280085" y="793623"/>
                </a:lnTo>
                <a:lnTo>
                  <a:pt x="365759" y="801624"/>
                </a:lnTo>
                <a:lnTo>
                  <a:pt x="550544" y="801624"/>
                </a:lnTo>
                <a:lnTo>
                  <a:pt x="636143" y="793623"/>
                </a:lnTo>
                <a:lnTo>
                  <a:pt x="713232" y="784351"/>
                </a:lnTo>
                <a:lnTo>
                  <a:pt x="781557" y="772287"/>
                </a:lnTo>
                <a:lnTo>
                  <a:pt x="808482" y="763015"/>
                </a:lnTo>
                <a:lnTo>
                  <a:pt x="836422" y="755014"/>
                </a:lnTo>
                <a:lnTo>
                  <a:pt x="876807" y="737615"/>
                </a:lnTo>
                <a:lnTo>
                  <a:pt x="910463" y="708278"/>
                </a:lnTo>
                <a:lnTo>
                  <a:pt x="913383" y="699007"/>
                </a:lnTo>
                <a:lnTo>
                  <a:pt x="913383" y="98805"/>
                </a:lnTo>
                <a:lnTo>
                  <a:pt x="876807" y="60071"/>
                </a:lnTo>
                <a:lnTo>
                  <a:pt x="857504" y="52070"/>
                </a:lnTo>
                <a:lnTo>
                  <a:pt x="836422" y="42799"/>
                </a:lnTo>
                <a:lnTo>
                  <a:pt x="808482" y="34798"/>
                </a:lnTo>
                <a:lnTo>
                  <a:pt x="781557" y="30734"/>
                </a:lnTo>
                <a:lnTo>
                  <a:pt x="713232" y="17399"/>
                </a:lnTo>
                <a:lnTo>
                  <a:pt x="55054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949325" y="3154298"/>
            <a:ext cx="913765" cy="802005"/>
          </a:xfrm>
          <a:custGeom>
            <a:avLst/>
            <a:gdLst/>
            <a:ahLst/>
            <a:cxnLst/>
            <a:rect l="l" t="t" r="r" b="b"/>
            <a:pathLst>
              <a:path w="913764" h="802004">
                <a:moveTo>
                  <a:pt x="458088" y="0"/>
                </a:moveTo>
                <a:lnTo>
                  <a:pt x="550544" y="0"/>
                </a:lnTo>
                <a:lnTo>
                  <a:pt x="636143" y="9398"/>
                </a:lnTo>
                <a:lnTo>
                  <a:pt x="713232" y="17399"/>
                </a:lnTo>
                <a:lnTo>
                  <a:pt x="781557" y="30734"/>
                </a:lnTo>
                <a:lnTo>
                  <a:pt x="808482" y="34798"/>
                </a:lnTo>
                <a:lnTo>
                  <a:pt x="836422" y="42799"/>
                </a:lnTo>
                <a:lnTo>
                  <a:pt x="857504" y="52070"/>
                </a:lnTo>
                <a:lnTo>
                  <a:pt x="876807" y="60071"/>
                </a:lnTo>
                <a:lnTo>
                  <a:pt x="892175" y="68072"/>
                </a:lnTo>
                <a:lnTo>
                  <a:pt x="903732" y="77470"/>
                </a:lnTo>
                <a:lnTo>
                  <a:pt x="910463" y="89408"/>
                </a:lnTo>
                <a:lnTo>
                  <a:pt x="913383" y="98805"/>
                </a:lnTo>
                <a:lnTo>
                  <a:pt x="913383" y="699007"/>
                </a:lnTo>
                <a:lnTo>
                  <a:pt x="876807" y="737615"/>
                </a:lnTo>
                <a:lnTo>
                  <a:pt x="836422" y="755014"/>
                </a:lnTo>
                <a:lnTo>
                  <a:pt x="808482" y="763015"/>
                </a:lnTo>
                <a:lnTo>
                  <a:pt x="781557" y="772287"/>
                </a:lnTo>
                <a:lnTo>
                  <a:pt x="713232" y="784351"/>
                </a:lnTo>
                <a:lnTo>
                  <a:pt x="636143" y="793623"/>
                </a:lnTo>
                <a:lnTo>
                  <a:pt x="550544" y="801624"/>
                </a:lnTo>
                <a:lnTo>
                  <a:pt x="458088" y="801624"/>
                </a:lnTo>
                <a:lnTo>
                  <a:pt x="365759" y="801624"/>
                </a:lnTo>
                <a:lnTo>
                  <a:pt x="280085" y="793623"/>
                </a:lnTo>
                <a:lnTo>
                  <a:pt x="203085" y="784351"/>
                </a:lnTo>
                <a:lnTo>
                  <a:pt x="135712" y="772287"/>
                </a:lnTo>
                <a:lnTo>
                  <a:pt x="79883" y="755014"/>
                </a:lnTo>
                <a:lnTo>
                  <a:pt x="37541" y="737615"/>
                </a:lnTo>
                <a:lnTo>
                  <a:pt x="2882" y="708278"/>
                </a:lnTo>
                <a:lnTo>
                  <a:pt x="0" y="699007"/>
                </a:lnTo>
                <a:lnTo>
                  <a:pt x="0" y="98805"/>
                </a:lnTo>
                <a:lnTo>
                  <a:pt x="37541" y="60071"/>
                </a:lnTo>
                <a:lnTo>
                  <a:pt x="79883" y="42799"/>
                </a:lnTo>
                <a:lnTo>
                  <a:pt x="135712" y="30734"/>
                </a:lnTo>
                <a:lnTo>
                  <a:pt x="203085" y="17399"/>
                </a:lnTo>
                <a:lnTo>
                  <a:pt x="280085" y="9398"/>
                </a:lnTo>
                <a:lnTo>
                  <a:pt x="365759" y="0"/>
                </a:lnTo>
                <a:lnTo>
                  <a:pt x="458088" y="0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949325" y="3154298"/>
            <a:ext cx="913765" cy="802005"/>
          </a:xfrm>
          <a:custGeom>
            <a:avLst/>
            <a:gdLst/>
            <a:ahLst/>
            <a:cxnLst/>
            <a:rect l="l" t="t" r="r" b="b"/>
            <a:pathLst>
              <a:path w="913764" h="802004">
                <a:moveTo>
                  <a:pt x="550544" y="0"/>
                </a:moveTo>
                <a:lnTo>
                  <a:pt x="365759" y="0"/>
                </a:lnTo>
                <a:lnTo>
                  <a:pt x="203085" y="17399"/>
                </a:lnTo>
                <a:lnTo>
                  <a:pt x="135712" y="30734"/>
                </a:lnTo>
                <a:lnTo>
                  <a:pt x="104914" y="34798"/>
                </a:lnTo>
                <a:lnTo>
                  <a:pt x="55829" y="52070"/>
                </a:lnTo>
                <a:lnTo>
                  <a:pt x="9626" y="77470"/>
                </a:lnTo>
                <a:lnTo>
                  <a:pt x="0" y="98805"/>
                </a:lnTo>
                <a:lnTo>
                  <a:pt x="0" y="699007"/>
                </a:lnTo>
                <a:lnTo>
                  <a:pt x="55829" y="747013"/>
                </a:lnTo>
                <a:lnTo>
                  <a:pt x="104914" y="763015"/>
                </a:lnTo>
                <a:lnTo>
                  <a:pt x="203085" y="784351"/>
                </a:lnTo>
                <a:lnTo>
                  <a:pt x="280085" y="793623"/>
                </a:lnTo>
                <a:lnTo>
                  <a:pt x="365759" y="801624"/>
                </a:lnTo>
                <a:lnTo>
                  <a:pt x="550544" y="801624"/>
                </a:lnTo>
                <a:lnTo>
                  <a:pt x="636143" y="793623"/>
                </a:lnTo>
                <a:lnTo>
                  <a:pt x="713232" y="784351"/>
                </a:lnTo>
                <a:lnTo>
                  <a:pt x="781557" y="772287"/>
                </a:lnTo>
                <a:lnTo>
                  <a:pt x="808482" y="763015"/>
                </a:lnTo>
                <a:lnTo>
                  <a:pt x="836422" y="755014"/>
                </a:lnTo>
                <a:lnTo>
                  <a:pt x="876807" y="737615"/>
                </a:lnTo>
                <a:lnTo>
                  <a:pt x="910463" y="708278"/>
                </a:lnTo>
                <a:lnTo>
                  <a:pt x="913383" y="699007"/>
                </a:lnTo>
                <a:lnTo>
                  <a:pt x="913383" y="98805"/>
                </a:lnTo>
                <a:lnTo>
                  <a:pt x="876807" y="60071"/>
                </a:lnTo>
                <a:lnTo>
                  <a:pt x="857504" y="52070"/>
                </a:lnTo>
                <a:lnTo>
                  <a:pt x="836422" y="42799"/>
                </a:lnTo>
                <a:lnTo>
                  <a:pt x="808482" y="34798"/>
                </a:lnTo>
                <a:lnTo>
                  <a:pt x="781557" y="30734"/>
                </a:lnTo>
                <a:lnTo>
                  <a:pt x="713232" y="17399"/>
                </a:lnTo>
                <a:lnTo>
                  <a:pt x="55054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95269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9603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9680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9743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9820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9897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9955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100322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101092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101718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102487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103257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103883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10465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105423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106001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106771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107541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108166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108936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109706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110331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11110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111872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112498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113267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11403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11466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11538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116154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116780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117551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118321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11894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119716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12048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121111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121881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12265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12322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123998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124769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125395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12616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126934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127555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128332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12910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129676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13045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131213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13184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13261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4" name="object 404"/>
          <p:cNvSpPr/>
          <p:nvPr/>
        </p:nvSpPr>
        <p:spPr>
          <a:xfrm>
            <a:off x="13338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5" name="object 405"/>
          <p:cNvSpPr/>
          <p:nvPr/>
        </p:nvSpPr>
        <p:spPr>
          <a:xfrm>
            <a:off x="134007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6" name="object 406"/>
          <p:cNvSpPr/>
          <p:nvPr/>
        </p:nvSpPr>
        <p:spPr>
          <a:xfrm>
            <a:off x="134783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7" name="object 407"/>
          <p:cNvSpPr/>
          <p:nvPr/>
        </p:nvSpPr>
        <p:spPr>
          <a:xfrm>
            <a:off x="135543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136127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9" name="object 409"/>
          <p:cNvSpPr/>
          <p:nvPr/>
        </p:nvSpPr>
        <p:spPr>
          <a:xfrm>
            <a:off x="13689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0" name="object 410"/>
          <p:cNvSpPr/>
          <p:nvPr/>
        </p:nvSpPr>
        <p:spPr>
          <a:xfrm>
            <a:off x="137664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1" name="object 411"/>
          <p:cNvSpPr/>
          <p:nvPr/>
        </p:nvSpPr>
        <p:spPr>
          <a:xfrm>
            <a:off x="13829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2" name="object 412"/>
          <p:cNvSpPr/>
          <p:nvPr/>
        </p:nvSpPr>
        <p:spPr>
          <a:xfrm>
            <a:off x="139066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3" name="object 413"/>
          <p:cNvSpPr/>
          <p:nvPr/>
        </p:nvSpPr>
        <p:spPr>
          <a:xfrm>
            <a:off x="13983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4" name="object 414"/>
          <p:cNvSpPr/>
          <p:nvPr/>
        </p:nvSpPr>
        <p:spPr>
          <a:xfrm>
            <a:off x="140458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5" name="object 415"/>
          <p:cNvSpPr/>
          <p:nvPr/>
        </p:nvSpPr>
        <p:spPr>
          <a:xfrm>
            <a:off x="141222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6" name="object 416"/>
          <p:cNvSpPr/>
          <p:nvPr/>
        </p:nvSpPr>
        <p:spPr>
          <a:xfrm>
            <a:off x="14199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7" name="object 417"/>
          <p:cNvSpPr/>
          <p:nvPr/>
        </p:nvSpPr>
        <p:spPr>
          <a:xfrm>
            <a:off x="14277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8" name="object 418"/>
          <p:cNvSpPr/>
          <p:nvPr/>
        </p:nvSpPr>
        <p:spPr>
          <a:xfrm>
            <a:off x="14353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9" name="object 419"/>
          <p:cNvSpPr/>
          <p:nvPr/>
        </p:nvSpPr>
        <p:spPr>
          <a:xfrm>
            <a:off x="14416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0" name="object 420"/>
          <p:cNvSpPr/>
          <p:nvPr/>
        </p:nvSpPr>
        <p:spPr>
          <a:xfrm>
            <a:off x="14493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1" name="object 421"/>
          <p:cNvSpPr/>
          <p:nvPr/>
        </p:nvSpPr>
        <p:spPr>
          <a:xfrm>
            <a:off x="145701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2" name="object 422"/>
          <p:cNvSpPr/>
          <p:nvPr/>
        </p:nvSpPr>
        <p:spPr>
          <a:xfrm>
            <a:off x="146326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3" name="object 423"/>
          <p:cNvSpPr/>
          <p:nvPr/>
        </p:nvSpPr>
        <p:spPr>
          <a:xfrm>
            <a:off x="147054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4" name="object 424"/>
          <p:cNvSpPr/>
          <p:nvPr/>
        </p:nvSpPr>
        <p:spPr>
          <a:xfrm>
            <a:off x="147821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5" name="object 425"/>
          <p:cNvSpPr/>
          <p:nvPr/>
        </p:nvSpPr>
        <p:spPr>
          <a:xfrm>
            <a:off x="14844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6" name="object 426"/>
          <p:cNvSpPr/>
          <p:nvPr/>
        </p:nvSpPr>
        <p:spPr>
          <a:xfrm>
            <a:off x="149210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7" name="object 427"/>
          <p:cNvSpPr/>
          <p:nvPr/>
        </p:nvSpPr>
        <p:spPr>
          <a:xfrm>
            <a:off x="149983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8" name="object 428"/>
          <p:cNvSpPr/>
          <p:nvPr/>
        </p:nvSpPr>
        <p:spPr>
          <a:xfrm>
            <a:off x="15061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9" name="object 429"/>
          <p:cNvSpPr/>
          <p:nvPr/>
        </p:nvSpPr>
        <p:spPr>
          <a:xfrm>
            <a:off x="15138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0" name="object 430"/>
          <p:cNvSpPr/>
          <p:nvPr/>
        </p:nvSpPr>
        <p:spPr>
          <a:xfrm>
            <a:off x="152152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1" name="object 431"/>
          <p:cNvSpPr/>
          <p:nvPr/>
        </p:nvSpPr>
        <p:spPr>
          <a:xfrm>
            <a:off x="152777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2" name="object 432"/>
          <p:cNvSpPr/>
          <p:nvPr/>
        </p:nvSpPr>
        <p:spPr>
          <a:xfrm>
            <a:off x="153541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3" name="object 433"/>
          <p:cNvSpPr/>
          <p:nvPr/>
        </p:nvSpPr>
        <p:spPr>
          <a:xfrm>
            <a:off x="154314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4" name="object 434"/>
          <p:cNvSpPr/>
          <p:nvPr/>
        </p:nvSpPr>
        <p:spPr>
          <a:xfrm>
            <a:off x="154898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5" name="object 435"/>
          <p:cNvSpPr/>
          <p:nvPr/>
        </p:nvSpPr>
        <p:spPr>
          <a:xfrm>
            <a:off x="155662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6" name="object 436"/>
          <p:cNvSpPr/>
          <p:nvPr/>
        </p:nvSpPr>
        <p:spPr>
          <a:xfrm>
            <a:off x="156435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7" name="object 437"/>
          <p:cNvSpPr/>
          <p:nvPr/>
        </p:nvSpPr>
        <p:spPr>
          <a:xfrm>
            <a:off x="15705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8" name="object 438"/>
          <p:cNvSpPr/>
          <p:nvPr/>
        </p:nvSpPr>
        <p:spPr>
          <a:xfrm>
            <a:off x="157824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9" name="object 439"/>
          <p:cNvSpPr/>
          <p:nvPr/>
        </p:nvSpPr>
        <p:spPr>
          <a:xfrm>
            <a:off x="158604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0" name="object 440"/>
          <p:cNvSpPr/>
          <p:nvPr/>
        </p:nvSpPr>
        <p:spPr>
          <a:xfrm>
            <a:off x="159229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1" name="object 441"/>
          <p:cNvSpPr/>
          <p:nvPr/>
        </p:nvSpPr>
        <p:spPr>
          <a:xfrm>
            <a:off x="1599932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2" name="object 442"/>
          <p:cNvSpPr/>
          <p:nvPr/>
        </p:nvSpPr>
        <p:spPr>
          <a:xfrm>
            <a:off x="160765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3" name="object 443"/>
          <p:cNvSpPr/>
          <p:nvPr/>
        </p:nvSpPr>
        <p:spPr>
          <a:xfrm>
            <a:off x="16133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4" name="object 444"/>
          <p:cNvSpPr/>
          <p:nvPr/>
        </p:nvSpPr>
        <p:spPr>
          <a:xfrm>
            <a:off x="162114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5" name="object 445"/>
          <p:cNvSpPr/>
          <p:nvPr/>
        </p:nvSpPr>
        <p:spPr>
          <a:xfrm>
            <a:off x="162886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6" name="object 446"/>
          <p:cNvSpPr/>
          <p:nvPr/>
        </p:nvSpPr>
        <p:spPr>
          <a:xfrm>
            <a:off x="16350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7" name="object 447"/>
          <p:cNvSpPr/>
          <p:nvPr/>
        </p:nvSpPr>
        <p:spPr>
          <a:xfrm>
            <a:off x="16427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8" name="object 448"/>
          <p:cNvSpPr/>
          <p:nvPr/>
        </p:nvSpPr>
        <p:spPr>
          <a:xfrm>
            <a:off x="165043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9" name="object 449"/>
          <p:cNvSpPr/>
          <p:nvPr/>
        </p:nvSpPr>
        <p:spPr>
          <a:xfrm>
            <a:off x="165668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0" name="object 450"/>
          <p:cNvSpPr/>
          <p:nvPr/>
        </p:nvSpPr>
        <p:spPr>
          <a:xfrm>
            <a:off x="166444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1" name="object 451"/>
          <p:cNvSpPr/>
          <p:nvPr/>
        </p:nvSpPr>
        <p:spPr>
          <a:xfrm>
            <a:off x="1672175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2" name="object 452"/>
          <p:cNvSpPr/>
          <p:nvPr/>
        </p:nvSpPr>
        <p:spPr>
          <a:xfrm>
            <a:off x="167789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3" name="object 453"/>
          <p:cNvSpPr/>
          <p:nvPr/>
        </p:nvSpPr>
        <p:spPr>
          <a:xfrm>
            <a:off x="16856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4" name="object 454"/>
          <p:cNvSpPr/>
          <p:nvPr/>
        </p:nvSpPr>
        <p:spPr>
          <a:xfrm>
            <a:off x="169325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5" name="object 455"/>
          <p:cNvSpPr/>
          <p:nvPr/>
        </p:nvSpPr>
        <p:spPr>
          <a:xfrm>
            <a:off x="16995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6" name="object 456"/>
          <p:cNvSpPr/>
          <p:nvPr/>
        </p:nvSpPr>
        <p:spPr>
          <a:xfrm>
            <a:off x="170727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7" name="object 457"/>
          <p:cNvSpPr/>
          <p:nvPr/>
        </p:nvSpPr>
        <p:spPr>
          <a:xfrm>
            <a:off x="171494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8" name="object 458"/>
          <p:cNvSpPr/>
          <p:nvPr/>
        </p:nvSpPr>
        <p:spPr>
          <a:xfrm>
            <a:off x="172119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9" name="object 459"/>
          <p:cNvSpPr/>
          <p:nvPr/>
        </p:nvSpPr>
        <p:spPr>
          <a:xfrm>
            <a:off x="172896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0" name="object 460"/>
          <p:cNvSpPr/>
          <p:nvPr/>
        </p:nvSpPr>
        <p:spPr>
          <a:xfrm>
            <a:off x="173669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1" name="object 461"/>
          <p:cNvSpPr/>
          <p:nvPr/>
        </p:nvSpPr>
        <p:spPr>
          <a:xfrm>
            <a:off x="17428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2" name="object 462"/>
          <p:cNvSpPr/>
          <p:nvPr/>
        </p:nvSpPr>
        <p:spPr>
          <a:xfrm>
            <a:off x="17505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3" name="object 463"/>
          <p:cNvSpPr/>
          <p:nvPr/>
        </p:nvSpPr>
        <p:spPr>
          <a:xfrm>
            <a:off x="175825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4" name="object 464"/>
          <p:cNvSpPr/>
          <p:nvPr/>
        </p:nvSpPr>
        <p:spPr>
          <a:xfrm>
            <a:off x="1764504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5" name="object 465"/>
          <p:cNvSpPr/>
          <p:nvPr/>
        </p:nvSpPr>
        <p:spPr>
          <a:xfrm>
            <a:off x="1772271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6" name="object 466"/>
          <p:cNvSpPr/>
          <p:nvPr/>
        </p:nvSpPr>
        <p:spPr>
          <a:xfrm>
            <a:off x="1779998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7" name="object 467"/>
          <p:cNvSpPr/>
          <p:nvPr/>
        </p:nvSpPr>
        <p:spPr>
          <a:xfrm>
            <a:off x="178571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8" name="object 468"/>
          <p:cNvSpPr/>
          <p:nvPr/>
        </p:nvSpPr>
        <p:spPr>
          <a:xfrm>
            <a:off x="179335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9" name="object 469"/>
          <p:cNvSpPr/>
          <p:nvPr/>
        </p:nvSpPr>
        <p:spPr>
          <a:xfrm>
            <a:off x="180108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0" name="object 470"/>
          <p:cNvSpPr/>
          <p:nvPr/>
        </p:nvSpPr>
        <p:spPr>
          <a:xfrm>
            <a:off x="1807403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1" name="object 471"/>
          <p:cNvSpPr/>
          <p:nvPr/>
        </p:nvSpPr>
        <p:spPr>
          <a:xfrm>
            <a:off x="181509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8662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2" name="object 472"/>
          <p:cNvSpPr/>
          <p:nvPr/>
        </p:nvSpPr>
        <p:spPr>
          <a:xfrm>
            <a:off x="182277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3" name="object 473"/>
          <p:cNvSpPr/>
          <p:nvPr/>
        </p:nvSpPr>
        <p:spPr>
          <a:xfrm>
            <a:off x="1829020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4" name="object 474"/>
          <p:cNvSpPr/>
          <p:nvPr/>
        </p:nvSpPr>
        <p:spPr>
          <a:xfrm>
            <a:off x="18367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5" name="object 475"/>
          <p:cNvSpPr/>
          <p:nvPr/>
        </p:nvSpPr>
        <p:spPr>
          <a:xfrm>
            <a:off x="1844387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6" name="object 476"/>
          <p:cNvSpPr/>
          <p:nvPr/>
        </p:nvSpPr>
        <p:spPr>
          <a:xfrm>
            <a:off x="185022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7" name="object 477"/>
          <p:cNvSpPr/>
          <p:nvPr/>
        </p:nvSpPr>
        <p:spPr>
          <a:xfrm>
            <a:off x="1857869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9624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8" name="object 478"/>
          <p:cNvSpPr/>
          <p:nvPr/>
        </p:nvSpPr>
        <p:spPr>
          <a:xfrm>
            <a:off x="1865596" y="31542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9" name="object 479"/>
          <p:cNvSpPr/>
          <p:nvPr/>
        </p:nvSpPr>
        <p:spPr>
          <a:xfrm>
            <a:off x="949325" y="3154298"/>
            <a:ext cx="913765" cy="200660"/>
          </a:xfrm>
          <a:custGeom>
            <a:avLst/>
            <a:gdLst/>
            <a:ahLst/>
            <a:cxnLst/>
            <a:rect l="l" t="t" r="r" b="b"/>
            <a:pathLst>
              <a:path w="913764" h="200660">
                <a:moveTo>
                  <a:pt x="550544" y="0"/>
                </a:moveTo>
                <a:lnTo>
                  <a:pt x="365759" y="0"/>
                </a:lnTo>
                <a:lnTo>
                  <a:pt x="203085" y="17399"/>
                </a:lnTo>
                <a:lnTo>
                  <a:pt x="135712" y="30734"/>
                </a:lnTo>
                <a:lnTo>
                  <a:pt x="104914" y="34798"/>
                </a:lnTo>
                <a:lnTo>
                  <a:pt x="55829" y="52070"/>
                </a:lnTo>
                <a:lnTo>
                  <a:pt x="9626" y="77470"/>
                </a:lnTo>
                <a:lnTo>
                  <a:pt x="0" y="98805"/>
                </a:lnTo>
                <a:lnTo>
                  <a:pt x="2882" y="106806"/>
                </a:lnTo>
                <a:lnTo>
                  <a:pt x="37541" y="136143"/>
                </a:lnTo>
                <a:lnTo>
                  <a:pt x="79883" y="153415"/>
                </a:lnTo>
                <a:lnTo>
                  <a:pt x="104914" y="162813"/>
                </a:lnTo>
                <a:lnTo>
                  <a:pt x="135712" y="170814"/>
                </a:lnTo>
                <a:lnTo>
                  <a:pt x="203085" y="184150"/>
                </a:lnTo>
                <a:lnTo>
                  <a:pt x="280085" y="192150"/>
                </a:lnTo>
                <a:lnTo>
                  <a:pt x="365759" y="200151"/>
                </a:lnTo>
                <a:lnTo>
                  <a:pt x="550544" y="200151"/>
                </a:lnTo>
                <a:lnTo>
                  <a:pt x="636143" y="192150"/>
                </a:lnTo>
                <a:lnTo>
                  <a:pt x="713232" y="184150"/>
                </a:lnTo>
                <a:lnTo>
                  <a:pt x="781557" y="170814"/>
                </a:lnTo>
                <a:lnTo>
                  <a:pt x="836422" y="153415"/>
                </a:lnTo>
                <a:lnTo>
                  <a:pt x="876807" y="136143"/>
                </a:lnTo>
                <a:lnTo>
                  <a:pt x="910463" y="106806"/>
                </a:lnTo>
                <a:lnTo>
                  <a:pt x="913383" y="98805"/>
                </a:lnTo>
                <a:lnTo>
                  <a:pt x="910463" y="89408"/>
                </a:lnTo>
                <a:lnTo>
                  <a:pt x="903732" y="77470"/>
                </a:lnTo>
                <a:lnTo>
                  <a:pt x="892175" y="68072"/>
                </a:lnTo>
                <a:lnTo>
                  <a:pt x="876807" y="60071"/>
                </a:lnTo>
                <a:lnTo>
                  <a:pt x="857504" y="52070"/>
                </a:lnTo>
                <a:lnTo>
                  <a:pt x="836422" y="42799"/>
                </a:lnTo>
                <a:lnTo>
                  <a:pt x="808482" y="34798"/>
                </a:lnTo>
                <a:lnTo>
                  <a:pt x="781557" y="30734"/>
                </a:lnTo>
                <a:lnTo>
                  <a:pt x="713232" y="17399"/>
                </a:lnTo>
                <a:lnTo>
                  <a:pt x="55054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0" name="object 480"/>
          <p:cNvSpPr/>
          <p:nvPr/>
        </p:nvSpPr>
        <p:spPr>
          <a:xfrm>
            <a:off x="949325" y="3154298"/>
            <a:ext cx="913765" cy="802005"/>
          </a:xfrm>
          <a:custGeom>
            <a:avLst/>
            <a:gdLst/>
            <a:ahLst/>
            <a:cxnLst/>
            <a:rect l="l" t="t" r="r" b="b"/>
            <a:pathLst>
              <a:path w="913764" h="802004">
                <a:moveTo>
                  <a:pt x="550544" y="0"/>
                </a:moveTo>
                <a:lnTo>
                  <a:pt x="365759" y="0"/>
                </a:lnTo>
                <a:lnTo>
                  <a:pt x="203085" y="17399"/>
                </a:lnTo>
                <a:lnTo>
                  <a:pt x="135712" y="30734"/>
                </a:lnTo>
                <a:lnTo>
                  <a:pt x="104914" y="34798"/>
                </a:lnTo>
                <a:lnTo>
                  <a:pt x="55829" y="52070"/>
                </a:lnTo>
                <a:lnTo>
                  <a:pt x="9626" y="77470"/>
                </a:lnTo>
                <a:lnTo>
                  <a:pt x="0" y="98805"/>
                </a:lnTo>
                <a:lnTo>
                  <a:pt x="0" y="699007"/>
                </a:lnTo>
                <a:lnTo>
                  <a:pt x="55829" y="747013"/>
                </a:lnTo>
                <a:lnTo>
                  <a:pt x="104914" y="763015"/>
                </a:lnTo>
                <a:lnTo>
                  <a:pt x="203085" y="784351"/>
                </a:lnTo>
                <a:lnTo>
                  <a:pt x="280085" y="793623"/>
                </a:lnTo>
                <a:lnTo>
                  <a:pt x="365759" y="801624"/>
                </a:lnTo>
                <a:lnTo>
                  <a:pt x="550544" y="801624"/>
                </a:lnTo>
                <a:lnTo>
                  <a:pt x="636143" y="793623"/>
                </a:lnTo>
                <a:lnTo>
                  <a:pt x="713232" y="784351"/>
                </a:lnTo>
                <a:lnTo>
                  <a:pt x="781557" y="772287"/>
                </a:lnTo>
                <a:lnTo>
                  <a:pt x="808482" y="763015"/>
                </a:lnTo>
                <a:lnTo>
                  <a:pt x="836422" y="755014"/>
                </a:lnTo>
                <a:lnTo>
                  <a:pt x="876807" y="737615"/>
                </a:lnTo>
                <a:lnTo>
                  <a:pt x="910463" y="708278"/>
                </a:lnTo>
                <a:lnTo>
                  <a:pt x="913383" y="699007"/>
                </a:lnTo>
                <a:lnTo>
                  <a:pt x="913383" y="98805"/>
                </a:lnTo>
                <a:lnTo>
                  <a:pt x="876807" y="60071"/>
                </a:lnTo>
                <a:lnTo>
                  <a:pt x="857504" y="52070"/>
                </a:lnTo>
                <a:lnTo>
                  <a:pt x="836422" y="42799"/>
                </a:lnTo>
                <a:lnTo>
                  <a:pt x="808482" y="34798"/>
                </a:lnTo>
                <a:lnTo>
                  <a:pt x="781557" y="30734"/>
                </a:lnTo>
                <a:lnTo>
                  <a:pt x="713232" y="17399"/>
                </a:lnTo>
                <a:lnTo>
                  <a:pt x="55054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1" name="object 481"/>
          <p:cNvSpPr/>
          <p:nvPr/>
        </p:nvSpPr>
        <p:spPr>
          <a:xfrm>
            <a:off x="949325" y="3154298"/>
            <a:ext cx="913765" cy="802005"/>
          </a:xfrm>
          <a:custGeom>
            <a:avLst/>
            <a:gdLst/>
            <a:ahLst/>
            <a:cxnLst/>
            <a:rect l="l" t="t" r="r" b="b"/>
            <a:pathLst>
              <a:path w="913764" h="802004">
                <a:moveTo>
                  <a:pt x="458088" y="0"/>
                </a:moveTo>
                <a:lnTo>
                  <a:pt x="550544" y="0"/>
                </a:lnTo>
                <a:lnTo>
                  <a:pt x="636143" y="9398"/>
                </a:lnTo>
                <a:lnTo>
                  <a:pt x="713232" y="17399"/>
                </a:lnTo>
                <a:lnTo>
                  <a:pt x="781557" y="30734"/>
                </a:lnTo>
                <a:lnTo>
                  <a:pt x="808482" y="34798"/>
                </a:lnTo>
                <a:lnTo>
                  <a:pt x="836422" y="42799"/>
                </a:lnTo>
                <a:lnTo>
                  <a:pt x="857504" y="52070"/>
                </a:lnTo>
                <a:lnTo>
                  <a:pt x="876807" y="60071"/>
                </a:lnTo>
                <a:lnTo>
                  <a:pt x="892175" y="68072"/>
                </a:lnTo>
                <a:lnTo>
                  <a:pt x="903732" y="77470"/>
                </a:lnTo>
                <a:lnTo>
                  <a:pt x="910463" y="89408"/>
                </a:lnTo>
                <a:lnTo>
                  <a:pt x="913383" y="98805"/>
                </a:lnTo>
                <a:lnTo>
                  <a:pt x="913383" y="699007"/>
                </a:lnTo>
                <a:lnTo>
                  <a:pt x="876807" y="737615"/>
                </a:lnTo>
                <a:lnTo>
                  <a:pt x="836422" y="755014"/>
                </a:lnTo>
                <a:lnTo>
                  <a:pt x="808482" y="763015"/>
                </a:lnTo>
                <a:lnTo>
                  <a:pt x="781557" y="772287"/>
                </a:lnTo>
                <a:lnTo>
                  <a:pt x="713232" y="784351"/>
                </a:lnTo>
                <a:lnTo>
                  <a:pt x="636143" y="793623"/>
                </a:lnTo>
                <a:lnTo>
                  <a:pt x="550544" y="801624"/>
                </a:lnTo>
                <a:lnTo>
                  <a:pt x="458088" y="801624"/>
                </a:lnTo>
                <a:lnTo>
                  <a:pt x="365759" y="801624"/>
                </a:lnTo>
                <a:lnTo>
                  <a:pt x="280085" y="793623"/>
                </a:lnTo>
                <a:lnTo>
                  <a:pt x="203085" y="784351"/>
                </a:lnTo>
                <a:lnTo>
                  <a:pt x="135712" y="772287"/>
                </a:lnTo>
                <a:lnTo>
                  <a:pt x="79883" y="755014"/>
                </a:lnTo>
                <a:lnTo>
                  <a:pt x="37541" y="737615"/>
                </a:lnTo>
                <a:lnTo>
                  <a:pt x="2882" y="708278"/>
                </a:lnTo>
                <a:lnTo>
                  <a:pt x="0" y="699007"/>
                </a:lnTo>
                <a:lnTo>
                  <a:pt x="0" y="98805"/>
                </a:lnTo>
                <a:lnTo>
                  <a:pt x="37541" y="60071"/>
                </a:lnTo>
                <a:lnTo>
                  <a:pt x="79883" y="42799"/>
                </a:lnTo>
                <a:lnTo>
                  <a:pt x="135712" y="30734"/>
                </a:lnTo>
                <a:lnTo>
                  <a:pt x="203085" y="17399"/>
                </a:lnTo>
                <a:lnTo>
                  <a:pt x="280085" y="9398"/>
                </a:lnTo>
                <a:lnTo>
                  <a:pt x="365759" y="0"/>
                </a:lnTo>
                <a:lnTo>
                  <a:pt x="458088" y="0"/>
                </a:lnTo>
                <a:close/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2" name="object 482"/>
          <p:cNvSpPr/>
          <p:nvPr/>
        </p:nvSpPr>
        <p:spPr>
          <a:xfrm>
            <a:off x="949325" y="3253104"/>
            <a:ext cx="913765" cy="101600"/>
          </a:xfrm>
          <a:custGeom>
            <a:avLst/>
            <a:gdLst/>
            <a:ahLst/>
            <a:cxnLst/>
            <a:rect l="l" t="t" r="r" b="b"/>
            <a:pathLst>
              <a:path w="913764" h="101600">
                <a:moveTo>
                  <a:pt x="913383" y="0"/>
                </a:moveTo>
                <a:lnTo>
                  <a:pt x="0" y="0"/>
                </a:lnTo>
                <a:lnTo>
                  <a:pt x="2882" y="8000"/>
                </a:lnTo>
                <a:lnTo>
                  <a:pt x="37541" y="37337"/>
                </a:lnTo>
                <a:lnTo>
                  <a:pt x="79883" y="54610"/>
                </a:lnTo>
                <a:lnTo>
                  <a:pt x="104914" y="64008"/>
                </a:lnTo>
                <a:lnTo>
                  <a:pt x="135712" y="72009"/>
                </a:lnTo>
                <a:lnTo>
                  <a:pt x="203085" y="85344"/>
                </a:lnTo>
                <a:lnTo>
                  <a:pt x="280085" y="93345"/>
                </a:lnTo>
                <a:lnTo>
                  <a:pt x="365759" y="101346"/>
                </a:lnTo>
                <a:lnTo>
                  <a:pt x="550544" y="101346"/>
                </a:lnTo>
                <a:lnTo>
                  <a:pt x="636143" y="93345"/>
                </a:lnTo>
                <a:lnTo>
                  <a:pt x="713232" y="85344"/>
                </a:lnTo>
                <a:lnTo>
                  <a:pt x="781557" y="72009"/>
                </a:lnTo>
                <a:lnTo>
                  <a:pt x="836422" y="54610"/>
                </a:lnTo>
                <a:lnTo>
                  <a:pt x="876807" y="37337"/>
                </a:lnTo>
                <a:lnTo>
                  <a:pt x="910463" y="8000"/>
                </a:lnTo>
                <a:lnTo>
                  <a:pt x="913383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3" name="object 483"/>
          <p:cNvSpPr/>
          <p:nvPr/>
        </p:nvSpPr>
        <p:spPr>
          <a:xfrm>
            <a:off x="949325" y="3253104"/>
            <a:ext cx="913765" cy="101600"/>
          </a:xfrm>
          <a:custGeom>
            <a:avLst/>
            <a:gdLst/>
            <a:ahLst/>
            <a:cxnLst/>
            <a:rect l="l" t="t" r="r" b="b"/>
            <a:pathLst>
              <a:path w="913764" h="101600">
                <a:moveTo>
                  <a:pt x="913383" y="0"/>
                </a:moveTo>
                <a:lnTo>
                  <a:pt x="876807" y="37337"/>
                </a:lnTo>
                <a:lnTo>
                  <a:pt x="836422" y="54610"/>
                </a:lnTo>
                <a:lnTo>
                  <a:pt x="781557" y="72009"/>
                </a:lnTo>
                <a:lnTo>
                  <a:pt x="713232" y="85344"/>
                </a:lnTo>
                <a:lnTo>
                  <a:pt x="636143" y="93345"/>
                </a:lnTo>
                <a:lnTo>
                  <a:pt x="550544" y="101346"/>
                </a:lnTo>
                <a:lnTo>
                  <a:pt x="458088" y="101346"/>
                </a:lnTo>
                <a:lnTo>
                  <a:pt x="365759" y="101346"/>
                </a:lnTo>
                <a:lnTo>
                  <a:pt x="280085" y="93345"/>
                </a:lnTo>
                <a:lnTo>
                  <a:pt x="203085" y="85344"/>
                </a:lnTo>
                <a:lnTo>
                  <a:pt x="135712" y="72009"/>
                </a:lnTo>
                <a:lnTo>
                  <a:pt x="79883" y="54610"/>
                </a:lnTo>
                <a:lnTo>
                  <a:pt x="55829" y="46609"/>
                </a:lnTo>
                <a:lnTo>
                  <a:pt x="37541" y="37337"/>
                </a:lnTo>
                <a:lnTo>
                  <a:pt x="22136" y="29337"/>
                </a:lnTo>
                <a:lnTo>
                  <a:pt x="9626" y="21336"/>
                </a:lnTo>
                <a:lnTo>
                  <a:pt x="2882" y="8000"/>
                </a:lnTo>
                <a:lnTo>
                  <a:pt x="0" y="0"/>
                </a:lnTo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4" name="object 484"/>
          <p:cNvSpPr/>
          <p:nvPr/>
        </p:nvSpPr>
        <p:spPr>
          <a:xfrm>
            <a:off x="8272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5" name="object 485"/>
          <p:cNvSpPr/>
          <p:nvPr/>
        </p:nvSpPr>
        <p:spPr>
          <a:xfrm>
            <a:off x="83210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6" name="object 486"/>
          <p:cNvSpPr/>
          <p:nvPr/>
        </p:nvSpPr>
        <p:spPr>
          <a:xfrm>
            <a:off x="8364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7" name="object 487"/>
          <p:cNvSpPr/>
          <p:nvPr/>
        </p:nvSpPr>
        <p:spPr>
          <a:xfrm>
            <a:off x="84076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8" name="object 488"/>
          <p:cNvSpPr/>
          <p:nvPr/>
        </p:nvSpPr>
        <p:spPr>
          <a:xfrm>
            <a:off x="8455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9" name="object 489"/>
          <p:cNvSpPr/>
          <p:nvPr/>
        </p:nvSpPr>
        <p:spPr>
          <a:xfrm>
            <a:off x="8503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0" name="object 490"/>
          <p:cNvSpPr/>
          <p:nvPr/>
        </p:nvSpPr>
        <p:spPr>
          <a:xfrm>
            <a:off x="8547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1" name="object 491"/>
          <p:cNvSpPr/>
          <p:nvPr/>
        </p:nvSpPr>
        <p:spPr>
          <a:xfrm>
            <a:off x="85953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2" name="object 492"/>
          <p:cNvSpPr/>
          <p:nvPr/>
        </p:nvSpPr>
        <p:spPr>
          <a:xfrm>
            <a:off x="8643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3" name="object 493"/>
          <p:cNvSpPr/>
          <p:nvPr/>
        </p:nvSpPr>
        <p:spPr>
          <a:xfrm>
            <a:off x="8701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4" name="object 494"/>
          <p:cNvSpPr/>
          <p:nvPr/>
        </p:nvSpPr>
        <p:spPr>
          <a:xfrm>
            <a:off x="87493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5" name="object 495"/>
          <p:cNvSpPr/>
          <p:nvPr/>
        </p:nvSpPr>
        <p:spPr>
          <a:xfrm>
            <a:off x="8797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6" name="object 496"/>
          <p:cNvSpPr/>
          <p:nvPr/>
        </p:nvSpPr>
        <p:spPr>
          <a:xfrm>
            <a:off x="8840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7" name="object 497"/>
          <p:cNvSpPr/>
          <p:nvPr/>
        </p:nvSpPr>
        <p:spPr>
          <a:xfrm>
            <a:off x="88890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8" name="object 498"/>
          <p:cNvSpPr/>
          <p:nvPr/>
        </p:nvSpPr>
        <p:spPr>
          <a:xfrm>
            <a:off x="8937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9" name="object 499"/>
          <p:cNvSpPr/>
          <p:nvPr/>
        </p:nvSpPr>
        <p:spPr>
          <a:xfrm>
            <a:off x="89804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0" name="object 500"/>
          <p:cNvSpPr/>
          <p:nvPr/>
        </p:nvSpPr>
        <p:spPr>
          <a:xfrm>
            <a:off x="90382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1" name="object 501"/>
          <p:cNvSpPr/>
          <p:nvPr/>
        </p:nvSpPr>
        <p:spPr>
          <a:xfrm>
            <a:off x="90864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2" name="object 502"/>
          <p:cNvSpPr/>
          <p:nvPr/>
        </p:nvSpPr>
        <p:spPr>
          <a:xfrm>
            <a:off x="9134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3" name="object 503"/>
          <p:cNvSpPr/>
          <p:nvPr/>
        </p:nvSpPr>
        <p:spPr>
          <a:xfrm>
            <a:off x="9177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4" name="object 504"/>
          <p:cNvSpPr/>
          <p:nvPr/>
        </p:nvSpPr>
        <p:spPr>
          <a:xfrm>
            <a:off x="92259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5" name="object 505"/>
          <p:cNvSpPr/>
          <p:nvPr/>
        </p:nvSpPr>
        <p:spPr>
          <a:xfrm>
            <a:off x="9274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6" name="object 506"/>
          <p:cNvSpPr/>
          <p:nvPr/>
        </p:nvSpPr>
        <p:spPr>
          <a:xfrm>
            <a:off x="93174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7" name="object 507"/>
          <p:cNvSpPr/>
          <p:nvPr/>
        </p:nvSpPr>
        <p:spPr>
          <a:xfrm>
            <a:off x="9360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8" name="object 508"/>
          <p:cNvSpPr/>
          <p:nvPr/>
        </p:nvSpPr>
        <p:spPr>
          <a:xfrm>
            <a:off x="94088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9" name="object 509"/>
          <p:cNvSpPr/>
          <p:nvPr/>
        </p:nvSpPr>
        <p:spPr>
          <a:xfrm>
            <a:off x="9471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0" name="object 510"/>
          <p:cNvSpPr/>
          <p:nvPr/>
        </p:nvSpPr>
        <p:spPr>
          <a:xfrm>
            <a:off x="95148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1" name="object 511"/>
          <p:cNvSpPr/>
          <p:nvPr/>
        </p:nvSpPr>
        <p:spPr>
          <a:xfrm>
            <a:off x="9562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2" name="object 512"/>
          <p:cNvSpPr/>
          <p:nvPr/>
        </p:nvSpPr>
        <p:spPr>
          <a:xfrm>
            <a:off x="96110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3" name="object 513"/>
          <p:cNvSpPr/>
          <p:nvPr/>
        </p:nvSpPr>
        <p:spPr>
          <a:xfrm>
            <a:off x="96543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4" name="object 514"/>
          <p:cNvSpPr/>
          <p:nvPr/>
        </p:nvSpPr>
        <p:spPr>
          <a:xfrm>
            <a:off x="9702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5" name="object 515"/>
          <p:cNvSpPr/>
          <p:nvPr/>
        </p:nvSpPr>
        <p:spPr>
          <a:xfrm>
            <a:off x="97507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6" name="object 516"/>
          <p:cNvSpPr/>
          <p:nvPr/>
        </p:nvSpPr>
        <p:spPr>
          <a:xfrm>
            <a:off x="98083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7" name="object 517"/>
          <p:cNvSpPr/>
          <p:nvPr/>
        </p:nvSpPr>
        <p:spPr>
          <a:xfrm>
            <a:off x="9856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8" name="object 518"/>
          <p:cNvSpPr/>
          <p:nvPr/>
        </p:nvSpPr>
        <p:spPr>
          <a:xfrm>
            <a:off x="9904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9" name="object 519"/>
          <p:cNvSpPr/>
          <p:nvPr/>
        </p:nvSpPr>
        <p:spPr>
          <a:xfrm>
            <a:off x="9947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0" name="object 520"/>
          <p:cNvSpPr/>
          <p:nvPr/>
        </p:nvSpPr>
        <p:spPr>
          <a:xfrm>
            <a:off x="9996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1" name="object 521"/>
          <p:cNvSpPr/>
          <p:nvPr/>
        </p:nvSpPr>
        <p:spPr>
          <a:xfrm>
            <a:off x="100443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2" name="object 522"/>
          <p:cNvSpPr/>
          <p:nvPr/>
        </p:nvSpPr>
        <p:spPr>
          <a:xfrm>
            <a:off x="10087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3" name="object 523"/>
          <p:cNvSpPr/>
          <p:nvPr/>
        </p:nvSpPr>
        <p:spPr>
          <a:xfrm>
            <a:off x="101310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4" name="object 524"/>
          <p:cNvSpPr/>
          <p:nvPr/>
        </p:nvSpPr>
        <p:spPr>
          <a:xfrm>
            <a:off x="10179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5" name="object 525"/>
          <p:cNvSpPr/>
          <p:nvPr/>
        </p:nvSpPr>
        <p:spPr>
          <a:xfrm>
            <a:off x="10241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6" name="object 526"/>
          <p:cNvSpPr/>
          <p:nvPr/>
        </p:nvSpPr>
        <p:spPr>
          <a:xfrm>
            <a:off x="102850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7" name="object 527"/>
          <p:cNvSpPr/>
          <p:nvPr/>
        </p:nvSpPr>
        <p:spPr>
          <a:xfrm>
            <a:off x="10333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8" name="object 528"/>
          <p:cNvSpPr/>
          <p:nvPr/>
        </p:nvSpPr>
        <p:spPr>
          <a:xfrm>
            <a:off x="10381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9" name="object 529"/>
          <p:cNvSpPr/>
          <p:nvPr/>
        </p:nvSpPr>
        <p:spPr>
          <a:xfrm>
            <a:off x="10424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0" name="object 530"/>
          <p:cNvSpPr/>
          <p:nvPr/>
        </p:nvSpPr>
        <p:spPr>
          <a:xfrm>
            <a:off x="104679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1" name="object 531"/>
          <p:cNvSpPr/>
          <p:nvPr/>
        </p:nvSpPr>
        <p:spPr>
          <a:xfrm>
            <a:off x="10516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2" name="object 532"/>
          <p:cNvSpPr/>
          <p:nvPr/>
        </p:nvSpPr>
        <p:spPr>
          <a:xfrm>
            <a:off x="10578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3" name="object 533"/>
          <p:cNvSpPr/>
          <p:nvPr/>
        </p:nvSpPr>
        <p:spPr>
          <a:xfrm>
            <a:off x="10621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4" name="object 534"/>
          <p:cNvSpPr/>
          <p:nvPr/>
        </p:nvSpPr>
        <p:spPr>
          <a:xfrm>
            <a:off x="10670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5" name="object 535"/>
          <p:cNvSpPr/>
          <p:nvPr/>
        </p:nvSpPr>
        <p:spPr>
          <a:xfrm>
            <a:off x="107182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6" name="object 536"/>
          <p:cNvSpPr/>
          <p:nvPr/>
        </p:nvSpPr>
        <p:spPr>
          <a:xfrm>
            <a:off x="10761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7" name="object 537"/>
          <p:cNvSpPr/>
          <p:nvPr/>
        </p:nvSpPr>
        <p:spPr>
          <a:xfrm>
            <a:off x="108096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8" name="object 538"/>
          <p:cNvSpPr/>
          <p:nvPr/>
        </p:nvSpPr>
        <p:spPr>
          <a:xfrm>
            <a:off x="10857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9" name="object 539"/>
          <p:cNvSpPr/>
          <p:nvPr/>
        </p:nvSpPr>
        <p:spPr>
          <a:xfrm>
            <a:off x="109012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0" name="object 540"/>
          <p:cNvSpPr/>
          <p:nvPr/>
        </p:nvSpPr>
        <p:spPr>
          <a:xfrm>
            <a:off x="109493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1" name="object 541"/>
          <p:cNvSpPr/>
          <p:nvPr/>
        </p:nvSpPr>
        <p:spPr>
          <a:xfrm>
            <a:off x="110119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2" name="object 542"/>
          <p:cNvSpPr/>
          <p:nvPr/>
        </p:nvSpPr>
        <p:spPr>
          <a:xfrm>
            <a:off x="110551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3" name="object 543"/>
          <p:cNvSpPr/>
          <p:nvPr/>
        </p:nvSpPr>
        <p:spPr>
          <a:xfrm>
            <a:off x="110985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4" name="object 544"/>
          <p:cNvSpPr/>
          <p:nvPr/>
        </p:nvSpPr>
        <p:spPr>
          <a:xfrm>
            <a:off x="11146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5" name="object 545"/>
          <p:cNvSpPr/>
          <p:nvPr/>
        </p:nvSpPr>
        <p:spPr>
          <a:xfrm>
            <a:off x="111948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6" name="object 546"/>
          <p:cNvSpPr/>
          <p:nvPr/>
        </p:nvSpPr>
        <p:spPr>
          <a:xfrm>
            <a:off x="11238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7" name="object 547"/>
          <p:cNvSpPr/>
          <p:nvPr/>
        </p:nvSpPr>
        <p:spPr>
          <a:xfrm>
            <a:off x="11286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8" name="object 548"/>
          <p:cNvSpPr/>
          <p:nvPr/>
        </p:nvSpPr>
        <p:spPr>
          <a:xfrm>
            <a:off x="113489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9" name="object 549"/>
          <p:cNvSpPr/>
          <p:nvPr/>
        </p:nvSpPr>
        <p:spPr>
          <a:xfrm>
            <a:off x="113922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0" name="object 550"/>
          <p:cNvSpPr/>
          <p:nvPr/>
        </p:nvSpPr>
        <p:spPr>
          <a:xfrm>
            <a:off x="11440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1" name="object 551"/>
          <p:cNvSpPr/>
          <p:nvPr/>
        </p:nvSpPr>
        <p:spPr>
          <a:xfrm>
            <a:off x="114885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2" name="object 552"/>
          <p:cNvSpPr/>
          <p:nvPr/>
        </p:nvSpPr>
        <p:spPr>
          <a:xfrm>
            <a:off x="11531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3" name="object 553"/>
          <p:cNvSpPr/>
          <p:nvPr/>
        </p:nvSpPr>
        <p:spPr>
          <a:xfrm>
            <a:off x="115751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4" name="object 554"/>
          <p:cNvSpPr/>
          <p:nvPr/>
        </p:nvSpPr>
        <p:spPr>
          <a:xfrm>
            <a:off x="116233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5" name="object 555"/>
          <p:cNvSpPr/>
          <p:nvPr/>
        </p:nvSpPr>
        <p:spPr>
          <a:xfrm>
            <a:off x="11671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6" name="object 556"/>
          <p:cNvSpPr/>
          <p:nvPr/>
        </p:nvSpPr>
        <p:spPr>
          <a:xfrm>
            <a:off x="11714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7" name="object 557"/>
          <p:cNvSpPr/>
          <p:nvPr/>
        </p:nvSpPr>
        <p:spPr>
          <a:xfrm>
            <a:off x="11777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8" name="object 558"/>
          <p:cNvSpPr/>
          <p:nvPr/>
        </p:nvSpPr>
        <p:spPr>
          <a:xfrm>
            <a:off x="11825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9" name="object 559"/>
          <p:cNvSpPr/>
          <p:nvPr/>
        </p:nvSpPr>
        <p:spPr>
          <a:xfrm>
            <a:off x="118688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0" name="object 560"/>
          <p:cNvSpPr/>
          <p:nvPr/>
        </p:nvSpPr>
        <p:spPr>
          <a:xfrm>
            <a:off x="119168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1" name="object 561"/>
          <p:cNvSpPr/>
          <p:nvPr/>
        </p:nvSpPr>
        <p:spPr>
          <a:xfrm>
            <a:off x="11965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2" name="object 562"/>
          <p:cNvSpPr/>
          <p:nvPr/>
        </p:nvSpPr>
        <p:spPr>
          <a:xfrm>
            <a:off x="12008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3" name="object 563"/>
          <p:cNvSpPr/>
          <p:nvPr/>
        </p:nvSpPr>
        <p:spPr>
          <a:xfrm>
            <a:off x="12056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4" name="object 564"/>
          <p:cNvSpPr/>
          <p:nvPr/>
        </p:nvSpPr>
        <p:spPr>
          <a:xfrm>
            <a:off x="12119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5" name="object 565"/>
          <p:cNvSpPr/>
          <p:nvPr/>
        </p:nvSpPr>
        <p:spPr>
          <a:xfrm>
            <a:off x="12162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6" name="object 566"/>
          <p:cNvSpPr/>
          <p:nvPr/>
        </p:nvSpPr>
        <p:spPr>
          <a:xfrm>
            <a:off x="122057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7" name="object 567"/>
          <p:cNvSpPr/>
          <p:nvPr/>
        </p:nvSpPr>
        <p:spPr>
          <a:xfrm>
            <a:off x="12253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8" name="object 568"/>
          <p:cNvSpPr/>
          <p:nvPr/>
        </p:nvSpPr>
        <p:spPr>
          <a:xfrm>
            <a:off x="12302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9" name="object 569"/>
          <p:cNvSpPr/>
          <p:nvPr/>
        </p:nvSpPr>
        <p:spPr>
          <a:xfrm>
            <a:off x="12345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0" name="object 570"/>
          <p:cNvSpPr/>
          <p:nvPr/>
        </p:nvSpPr>
        <p:spPr>
          <a:xfrm>
            <a:off x="12393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1" name="object 571"/>
          <p:cNvSpPr/>
          <p:nvPr/>
        </p:nvSpPr>
        <p:spPr>
          <a:xfrm>
            <a:off x="12441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2" name="object 572"/>
          <p:cNvSpPr/>
          <p:nvPr/>
        </p:nvSpPr>
        <p:spPr>
          <a:xfrm>
            <a:off x="124849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3" name="object 573"/>
          <p:cNvSpPr/>
          <p:nvPr/>
        </p:nvSpPr>
        <p:spPr>
          <a:xfrm>
            <a:off x="125475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4" name="object 574"/>
          <p:cNvSpPr/>
          <p:nvPr/>
        </p:nvSpPr>
        <p:spPr>
          <a:xfrm>
            <a:off x="12595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5" name="object 575"/>
          <p:cNvSpPr/>
          <p:nvPr/>
        </p:nvSpPr>
        <p:spPr>
          <a:xfrm>
            <a:off x="126389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6" name="object 576"/>
          <p:cNvSpPr/>
          <p:nvPr/>
        </p:nvSpPr>
        <p:spPr>
          <a:xfrm>
            <a:off x="12682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7" name="object 577"/>
          <p:cNvSpPr/>
          <p:nvPr/>
        </p:nvSpPr>
        <p:spPr>
          <a:xfrm>
            <a:off x="127305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8" name="object 578"/>
          <p:cNvSpPr/>
          <p:nvPr/>
        </p:nvSpPr>
        <p:spPr>
          <a:xfrm>
            <a:off x="12779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9" name="object 579"/>
          <p:cNvSpPr/>
          <p:nvPr/>
        </p:nvSpPr>
        <p:spPr>
          <a:xfrm>
            <a:off x="12821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0" name="object 580"/>
          <p:cNvSpPr/>
          <p:nvPr/>
        </p:nvSpPr>
        <p:spPr>
          <a:xfrm>
            <a:off x="12884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1" name="object 581"/>
          <p:cNvSpPr/>
          <p:nvPr/>
        </p:nvSpPr>
        <p:spPr>
          <a:xfrm>
            <a:off x="12932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2" name="object 582"/>
          <p:cNvSpPr/>
          <p:nvPr/>
        </p:nvSpPr>
        <p:spPr>
          <a:xfrm>
            <a:off x="12976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3" name="object 583"/>
          <p:cNvSpPr/>
          <p:nvPr/>
        </p:nvSpPr>
        <p:spPr>
          <a:xfrm>
            <a:off x="130240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4" name="object 584"/>
          <p:cNvSpPr/>
          <p:nvPr/>
        </p:nvSpPr>
        <p:spPr>
          <a:xfrm>
            <a:off x="13071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5" name="object 585"/>
          <p:cNvSpPr/>
          <p:nvPr/>
        </p:nvSpPr>
        <p:spPr>
          <a:xfrm>
            <a:off x="13115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6" name="object 586"/>
          <p:cNvSpPr/>
          <p:nvPr/>
        </p:nvSpPr>
        <p:spPr>
          <a:xfrm>
            <a:off x="131642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7" name="object 587"/>
          <p:cNvSpPr/>
          <p:nvPr/>
        </p:nvSpPr>
        <p:spPr>
          <a:xfrm>
            <a:off x="13212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8" name="object 588"/>
          <p:cNvSpPr/>
          <p:nvPr/>
        </p:nvSpPr>
        <p:spPr>
          <a:xfrm>
            <a:off x="13254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9" name="object 589"/>
          <p:cNvSpPr/>
          <p:nvPr/>
        </p:nvSpPr>
        <p:spPr>
          <a:xfrm>
            <a:off x="13313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0" name="object 590"/>
          <p:cNvSpPr/>
          <p:nvPr/>
        </p:nvSpPr>
        <p:spPr>
          <a:xfrm>
            <a:off x="13360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1" name="object 591"/>
          <p:cNvSpPr/>
          <p:nvPr/>
        </p:nvSpPr>
        <p:spPr>
          <a:xfrm>
            <a:off x="13409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2" name="object 592"/>
          <p:cNvSpPr/>
          <p:nvPr/>
        </p:nvSpPr>
        <p:spPr>
          <a:xfrm>
            <a:off x="13452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3" name="object 593"/>
          <p:cNvSpPr/>
          <p:nvPr/>
        </p:nvSpPr>
        <p:spPr>
          <a:xfrm>
            <a:off x="135007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4" name="object 594"/>
          <p:cNvSpPr/>
          <p:nvPr/>
        </p:nvSpPr>
        <p:spPr>
          <a:xfrm>
            <a:off x="13548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5" name="object 595"/>
          <p:cNvSpPr/>
          <p:nvPr/>
        </p:nvSpPr>
        <p:spPr>
          <a:xfrm>
            <a:off x="135924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6" name="object 596"/>
          <p:cNvSpPr/>
          <p:nvPr/>
        </p:nvSpPr>
        <p:spPr>
          <a:xfrm>
            <a:off x="13654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7" name="object 597"/>
          <p:cNvSpPr/>
          <p:nvPr/>
        </p:nvSpPr>
        <p:spPr>
          <a:xfrm>
            <a:off x="13702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8" name="object 598"/>
          <p:cNvSpPr/>
          <p:nvPr/>
        </p:nvSpPr>
        <p:spPr>
          <a:xfrm>
            <a:off x="13746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9" name="object 599"/>
          <p:cNvSpPr/>
          <p:nvPr/>
        </p:nvSpPr>
        <p:spPr>
          <a:xfrm>
            <a:off x="13790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0" name="object 600"/>
          <p:cNvSpPr/>
          <p:nvPr/>
        </p:nvSpPr>
        <p:spPr>
          <a:xfrm>
            <a:off x="13837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1" name="object 601"/>
          <p:cNvSpPr/>
          <p:nvPr/>
        </p:nvSpPr>
        <p:spPr>
          <a:xfrm>
            <a:off x="13885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2" name="object 602"/>
          <p:cNvSpPr/>
          <p:nvPr/>
        </p:nvSpPr>
        <p:spPr>
          <a:xfrm>
            <a:off x="13929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3" name="object 603"/>
          <p:cNvSpPr/>
          <p:nvPr/>
        </p:nvSpPr>
        <p:spPr>
          <a:xfrm>
            <a:off x="13977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4" name="object 604"/>
          <p:cNvSpPr/>
          <p:nvPr/>
        </p:nvSpPr>
        <p:spPr>
          <a:xfrm>
            <a:off x="140255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5" name="object 605"/>
          <p:cNvSpPr/>
          <p:nvPr/>
        </p:nvSpPr>
        <p:spPr>
          <a:xfrm>
            <a:off x="140827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6" name="object 606"/>
          <p:cNvSpPr/>
          <p:nvPr/>
        </p:nvSpPr>
        <p:spPr>
          <a:xfrm>
            <a:off x="14131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7" name="object 607"/>
          <p:cNvSpPr/>
          <p:nvPr/>
        </p:nvSpPr>
        <p:spPr>
          <a:xfrm>
            <a:off x="141792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8" name="object 608"/>
          <p:cNvSpPr/>
          <p:nvPr/>
        </p:nvSpPr>
        <p:spPr>
          <a:xfrm>
            <a:off x="14223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9" name="object 609"/>
          <p:cNvSpPr/>
          <p:nvPr/>
        </p:nvSpPr>
        <p:spPr>
          <a:xfrm>
            <a:off x="142655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0" name="object 610"/>
          <p:cNvSpPr/>
          <p:nvPr/>
        </p:nvSpPr>
        <p:spPr>
          <a:xfrm>
            <a:off x="14314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1" name="object 611"/>
          <p:cNvSpPr/>
          <p:nvPr/>
        </p:nvSpPr>
        <p:spPr>
          <a:xfrm>
            <a:off x="14362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2" name="object 612"/>
          <p:cNvSpPr/>
          <p:nvPr/>
        </p:nvSpPr>
        <p:spPr>
          <a:xfrm>
            <a:off x="144205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3" name="object 613"/>
          <p:cNvSpPr/>
          <p:nvPr/>
        </p:nvSpPr>
        <p:spPr>
          <a:xfrm>
            <a:off x="144680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4" name="object 614"/>
          <p:cNvSpPr/>
          <p:nvPr/>
        </p:nvSpPr>
        <p:spPr>
          <a:xfrm>
            <a:off x="145170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5" name="object 615"/>
          <p:cNvSpPr/>
          <p:nvPr/>
        </p:nvSpPr>
        <p:spPr>
          <a:xfrm>
            <a:off x="14559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6" name="object 616"/>
          <p:cNvSpPr/>
          <p:nvPr/>
        </p:nvSpPr>
        <p:spPr>
          <a:xfrm>
            <a:off x="14608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7" name="object 617"/>
          <p:cNvSpPr/>
          <p:nvPr/>
        </p:nvSpPr>
        <p:spPr>
          <a:xfrm>
            <a:off x="14656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8" name="object 618"/>
          <p:cNvSpPr/>
          <p:nvPr/>
        </p:nvSpPr>
        <p:spPr>
          <a:xfrm>
            <a:off x="14699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9" name="object 619"/>
          <p:cNvSpPr/>
          <p:nvPr/>
        </p:nvSpPr>
        <p:spPr>
          <a:xfrm>
            <a:off x="147426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0" name="object 620"/>
          <p:cNvSpPr/>
          <p:nvPr/>
        </p:nvSpPr>
        <p:spPr>
          <a:xfrm>
            <a:off x="147910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1" name="object 621"/>
          <p:cNvSpPr/>
          <p:nvPr/>
        </p:nvSpPr>
        <p:spPr>
          <a:xfrm>
            <a:off x="14853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2" name="object 622"/>
          <p:cNvSpPr/>
          <p:nvPr/>
        </p:nvSpPr>
        <p:spPr>
          <a:xfrm>
            <a:off x="14896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3" name="object 623"/>
          <p:cNvSpPr/>
          <p:nvPr/>
        </p:nvSpPr>
        <p:spPr>
          <a:xfrm>
            <a:off x="149447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4" name="object 624"/>
          <p:cNvSpPr/>
          <p:nvPr/>
        </p:nvSpPr>
        <p:spPr>
          <a:xfrm>
            <a:off x="14992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5" name="object 625"/>
          <p:cNvSpPr/>
          <p:nvPr/>
        </p:nvSpPr>
        <p:spPr>
          <a:xfrm>
            <a:off x="150364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6" name="object 626"/>
          <p:cNvSpPr/>
          <p:nvPr/>
        </p:nvSpPr>
        <p:spPr>
          <a:xfrm>
            <a:off x="15083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7" name="object 627"/>
          <p:cNvSpPr/>
          <p:nvPr/>
        </p:nvSpPr>
        <p:spPr>
          <a:xfrm>
            <a:off x="15132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8" name="object 628"/>
          <p:cNvSpPr/>
          <p:nvPr/>
        </p:nvSpPr>
        <p:spPr>
          <a:xfrm>
            <a:off x="15190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9" name="object 629"/>
          <p:cNvSpPr/>
          <p:nvPr/>
        </p:nvSpPr>
        <p:spPr>
          <a:xfrm>
            <a:off x="152389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0" name="object 630"/>
          <p:cNvSpPr/>
          <p:nvPr/>
        </p:nvSpPr>
        <p:spPr>
          <a:xfrm>
            <a:off x="15286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1" name="object 631"/>
          <p:cNvSpPr/>
          <p:nvPr/>
        </p:nvSpPr>
        <p:spPr>
          <a:xfrm>
            <a:off x="153293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2" name="object 632"/>
          <p:cNvSpPr/>
          <p:nvPr/>
        </p:nvSpPr>
        <p:spPr>
          <a:xfrm>
            <a:off x="153730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3" name="object 633"/>
          <p:cNvSpPr/>
          <p:nvPr/>
        </p:nvSpPr>
        <p:spPr>
          <a:xfrm>
            <a:off x="15421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4" name="object 634"/>
          <p:cNvSpPr/>
          <p:nvPr/>
        </p:nvSpPr>
        <p:spPr>
          <a:xfrm>
            <a:off x="15469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5" name="object 635"/>
          <p:cNvSpPr/>
          <p:nvPr/>
        </p:nvSpPr>
        <p:spPr>
          <a:xfrm>
            <a:off x="155122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6" name="object 636"/>
          <p:cNvSpPr/>
          <p:nvPr/>
        </p:nvSpPr>
        <p:spPr>
          <a:xfrm>
            <a:off x="15560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7" name="object 637"/>
          <p:cNvSpPr/>
          <p:nvPr/>
        </p:nvSpPr>
        <p:spPr>
          <a:xfrm>
            <a:off x="15623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8" name="object 638"/>
          <p:cNvSpPr/>
          <p:nvPr/>
        </p:nvSpPr>
        <p:spPr>
          <a:xfrm>
            <a:off x="15667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9" name="object 639"/>
          <p:cNvSpPr/>
          <p:nvPr/>
        </p:nvSpPr>
        <p:spPr>
          <a:xfrm>
            <a:off x="15715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0" name="object 640"/>
          <p:cNvSpPr/>
          <p:nvPr/>
        </p:nvSpPr>
        <p:spPr>
          <a:xfrm>
            <a:off x="15763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1" name="object 641"/>
          <p:cNvSpPr/>
          <p:nvPr/>
        </p:nvSpPr>
        <p:spPr>
          <a:xfrm>
            <a:off x="158060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2" name="object 642"/>
          <p:cNvSpPr/>
          <p:nvPr/>
        </p:nvSpPr>
        <p:spPr>
          <a:xfrm>
            <a:off x="15850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3" name="object 643"/>
          <p:cNvSpPr/>
          <p:nvPr/>
        </p:nvSpPr>
        <p:spPr>
          <a:xfrm>
            <a:off x="15898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4" name="object 644"/>
          <p:cNvSpPr/>
          <p:nvPr/>
        </p:nvSpPr>
        <p:spPr>
          <a:xfrm>
            <a:off x="15961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5" name="object 645"/>
          <p:cNvSpPr/>
          <p:nvPr/>
        </p:nvSpPr>
        <p:spPr>
          <a:xfrm>
            <a:off x="16003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6" name="object 646"/>
          <p:cNvSpPr/>
          <p:nvPr/>
        </p:nvSpPr>
        <p:spPr>
          <a:xfrm>
            <a:off x="16052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7" name="object 647"/>
          <p:cNvSpPr/>
          <p:nvPr/>
        </p:nvSpPr>
        <p:spPr>
          <a:xfrm>
            <a:off x="161002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8" name="object 648"/>
          <p:cNvSpPr/>
          <p:nvPr/>
        </p:nvSpPr>
        <p:spPr>
          <a:xfrm>
            <a:off x="161439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9" name="object 649"/>
          <p:cNvSpPr/>
          <p:nvPr/>
        </p:nvSpPr>
        <p:spPr>
          <a:xfrm>
            <a:off x="161914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0" name="object 650"/>
          <p:cNvSpPr/>
          <p:nvPr/>
        </p:nvSpPr>
        <p:spPr>
          <a:xfrm>
            <a:off x="162391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1" name="object 651"/>
          <p:cNvSpPr/>
          <p:nvPr/>
        </p:nvSpPr>
        <p:spPr>
          <a:xfrm>
            <a:off x="16283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2" name="object 652"/>
          <p:cNvSpPr/>
          <p:nvPr/>
        </p:nvSpPr>
        <p:spPr>
          <a:xfrm>
            <a:off x="16331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3" name="object 653"/>
          <p:cNvSpPr/>
          <p:nvPr/>
        </p:nvSpPr>
        <p:spPr>
          <a:xfrm>
            <a:off x="16394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4" name="object 654"/>
          <p:cNvSpPr/>
          <p:nvPr/>
        </p:nvSpPr>
        <p:spPr>
          <a:xfrm>
            <a:off x="16436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5" name="object 655"/>
          <p:cNvSpPr/>
          <p:nvPr/>
        </p:nvSpPr>
        <p:spPr>
          <a:xfrm>
            <a:off x="16480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6" name="object 656"/>
          <p:cNvSpPr/>
          <p:nvPr/>
        </p:nvSpPr>
        <p:spPr>
          <a:xfrm>
            <a:off x="16527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7" name="object 657"/>
          <p:cNvSpPr/>
          <p:nvPr/>
        </p:nvSpPr>
        <p:spPr>
          <a:xfrm>
            <a:off x="16576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8" name="object 658"/>
          <p:cNvSpPr/>
          <p:nvPr/>
        </p:nvSpPr>
        <p:spPr>
          <a:xfrm>
            <a:off x="166196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9" name="object 659"/>
          <p:cNvSpPr/>
          <p:nvPr/>
        </p:nvSpPr>
        <p:spPr>
          <a:xfrm>
            <a:off x="16668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0" name="object 660"/>
          <p:cNvSpPr/>
          <p:nvPr/>
        </p:nvSpPr>
        <p:spPr>
          <a:xfrm>
            <a:off x="16730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1" name="object 661"/>
          <p:cNvSpPr/>
          <p:nvPr/>
        </p:nvSpPr>
        <p:spPr>
          <a:xfrm>
            <a:off x="167746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2" name="object 662"/>
          <p:cNvSpPr/>
          <p:nvPr/>
        </p:nvSpPr>
        <p:spPr>
          <a:xfrm>
            <a:off x="16821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3" name="object 663"/>
          <p:cNvSpPr/>
          <p:nvPr/>
        </p:nvSpPr>
        <p:spPr>
          <a:xfrm>
            <a:off x="16869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4" name="object 664"/>
          <p:cNvSpPr/>
          <p:nvPr/>
        </p:nvSpPr>
        <p:spPr>
          <a:xfrm>
            <a:off x="16913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5" name="object 665"/>
          <p:cNvSpPr/>
          <p:nvPr/>
        </p:nvSpPr>
        <p:spPr>
          <a:xfrm>
            <a:off x="169575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6" name="object 666"/>
          <p:cNvSpPr/>
          <p:nvPr/>
        </p:nvSpPr>
        <p:spPr>
          <a:xfrm>
            <a:off x="170047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7" name="object 667"/>
          <p:cNvSpPr/>
          <p:nvPr/>
        </p:nvSpPr>
        <p:spPr>
          <a:xfrm>
            <a:off x="17052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8" name="object 668"/>
          <p:cNvSpPr/>
          <p:nvPr/>
        </p:nvSpPr>
        <p:spPr>
          <a:xfrm>
            <a:off x="170964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9" name="object 669"/>
          <p:cNvSpPr/>
          <p:nvPr/>
        </p:nvSpPr>
        <p:spPr>
          <a:xfrm>
            <a:off x="17159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0" name="object 670"/>
          <p:cNvSpPr/>
          <p:nvPr/>
        </p:nvSpPr>
        <p:spPr>
          <a:xfrm>
            <a:off x="17207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1" name="object 671"/>
          <p:cNvSpPr/>
          <p:nvPr/>
        </p:nvSpPr>
        <p:spPr>
          <a:xfrm>
            <a:off x="17250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2" name="object 672"/>
          <p:cNvSpPr/>
          <p:nvPr/>
        </p:nvSpPr>
        <p:spPr>
          <a:xfrm>
            <a:off x="17298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3" name="object 673"/>
          <p:cNvSpPr/>
          <p:nvPr/>
        </p:nvSpPr>
        <p:spPr>
          <a:xfrm>
            <a:off x="17346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4" name="object 674"/>
          <p:cNvSpPr/>
          <p:nvPr/>
        </p:nvSpPr>
        <p:spPr>
          <a:xfrm>
            <a:off x="173905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5" name="object 675"/>
          <p:cNvSpPr/>
          <p:nvPr/>
        </p:nvSpPr>
        <p:spPr>
          <a:xfrm>
            <a:off x="174342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6" name="object 676"/>
          <p:cNvSpPr/>
          <p:nvPr/>
        </p:nvSpPr>
        <p:spPr>
          <a:xfrm>
            <a:off x="823912" y="3306826"/>
            <a:ext cx="916940" cy="802005"/>
          </a:xfrm>
          <a:custGeom>
            <a:avLst/>
            <a:gdLst/>
            <a:ahLst/>
            <a:cxnLst/>
            <a:rect l="l" t="t" r="r" b="b"/>
            <a:pathLst>
              <a:path w="916939" h="802004">
                <a:moveTo>
                  <a:pt x="458279" y="0"/>
                </a:moveTo>
                <a:lnTo>
                  <a:pt x="280162" y="8000"/>
                </a:lnTo>
                <a:lnTo>
                  <a:pt x="203149" y="17272"/>
                </a:lnTo>
                <a:lnTo>
                  <a:pt x="135750" y="29337"/>
                </a:lnTo>
                <a:lnTo>
                  <a:pt x="79908" y="46609"/>
                </a:lnTo>
                <a:lnTo>
                  <a:pt x="22148" y="72009"/>
                </a:lnTo>
                <a:lnTo>
                  <a:pt x="0" y="102615"/>
                </a:lnTo>
                <a:lnTo>
                  <a:pt x="0" y="702818"/>
                </a:lnTo>
                <a:lnTo>
                  <a:pt x="37553" y="741553"/>
                </a:lnTo>
                <a:lnTo>
                  <a:pt x="79908" y="758825"/>
                </a:lnTo>
                <a:lnTo>
                  <a:pt x="135750" y="770890"/>
                </a:lnTo>
                <a:lnTo>
                  <a:pt x="203149" y="784225"/>
                </a:lnTo>
                <a:lnTo>
                  <a:pt x="365848" y="801497"/>
                </a:lnTo>
                <a:lnTo>
                  <a:pt x="550735" y="801497"/>
                </a:lnTo>
                <a:lnTo>
                  <a:pt x="713422" y="784225"/>
                </a:lnTo>
                <a:lnTo>
                  <a:pt x="781748" y="770890"/>
                </a:lnTo>
                <a:lnTo>
                  <a:pt x="812609" y="766826"/>
                </a:lnTo>
                <a:lnTo>
                  <a:pt x="861631" y="749554"/>
                </a:lnTo>
                <a:lnTo>
                  <a:pt x="907859" y="724154"/>
                </a:lnTo>
                <a:lnTo>
                  <a:pt x="916622" y="702818"/>
                </a:lnTo>
                <a:lnTo>
                  <a:pt x="916622" y="102615"/>
                </a:lnTo>
                <a:lnTo>
                  <a:pt x="861631" y="54610"/>
                </a:lnTo>
                <a:lnTo>
                  <a:pt x="781748" y="29337"/>
                </a:lnTo>
                <a:lnTo>
                  <a:pt x="713422" y="17272"/>
                </a:lnTo>
                <a:lnTo>
                  <a:pt x="636333" y="8000"/>
                </a:lnTo>
                <a:lnTo>
                  <a:pt x="458279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7" name="object 677"/>
          <p:cNvSpPr/>
          <p:nvPr/>
        </p:nvSpPr>
        <p:spPr>
          <a:xfrm>
            <a:off x="823912" y="3306826"/>
            <a:ext cx="916940" cy="802005"/>
          </a:xfrm>
          <a:custGeom>
            <a:avLst/>
            <a:gdLst/>
            <a:ahLst/>
            <a:cxnLst/>
            <a:rect l="l" t="t" r="r" b="b"/>
            <a:pathLst>
              <a:path w="916939" h="802004">
                <a:moveTo>
                  <a:pt x="458279" y="0"/>
                </a:moveTo>
                <a:lnTo>
                  <a:pt x="550735" y="3937"/>
                </a:lnTo>
                <a:lnTo>
                  <a:pt x="636333" y="8000"/>
                </a:lnTo>
                <a:lnTo>
                  <a:pt x="713422" y="17272"/>
                </a:lnTo>
                <a:lnTo>
                  <a:pt x="781748" y="29337"/>
                </a:lnTo>
                <a:lnTo>
                  <a:pt x="812609" y="38608"/>
                </a:lnTo>
                <a:lnTo>
                  <a:pt x="839533" y="46609"/>
                </a:lnTo>
                <a:lnTo>
                  <a:pt x="879919" y="64008"/>
                </a:lnTo>
                <a:lnTo>
                  <a:pt x="913701" y="93345"/>
                </a:lnTo>
                <a:lnTo>
                  <a:pt x="916622" y="102615"/>
                </a:lnTo>
                <a:lnTo>
                  <a:pt x="916622" y="702818"/>
                </a:lnTo>
                <a:lnTo>
                  <a:pt x="879919" y="741553"/>
                </a:lnTo>
                <a:lnTo>
                  <a:pt x="839533" y="758825"/>
                </a:lnTo>
                <a:lnTo>
                  <a:pt x="781748" y="770890"/>
                </a:lnTo>
                <a:lnTo>
                  <a:pt x="713422" y="784225"/>
                </a:lnTo>
                <a:lnTo>
                  <a:pt x="636333" y="792226"/>
                </a:lnTo>
                <a:lnTo>
                  <a:pt x="550735" y="801497"/>
                </a:lnTo>
                <a:lnTo>
                  <a:pt x="458279" y="801497"/>
                </a:lnTo>
                <a:lnTo>
                  <a:pt x="365848" y="801497"/>
                </a:lnTo>
                <a:lnTo>
                  <a:pt x="280162" y="792226"/>
                </a:lnTo>
                <a:lnTo>
                  <a:pt x="203149" y="784225"/>
                </a:lnTo>
                <a:lnTo>
                  <a:pt x="135750" y="770890"/>
                </a:lnTo>
                <a:lnTo>
                  <a:pt x="104940" y="766826"/>
                </a:lnTo>
                <a:lnTo>
                  <a:pt x="79908" y="758825"/>
                </a:lnTo>
                <a:lnTo>
                  <a:pt x="37553" y="741553"/>
                </a:lnTo>
                <a:lnTo>
                  <a:pt x="2882" y="712216"/>
                </a:lnTo>
                <a:lnTo>
                  <a:pt x="0" y="702818"/>
                </a:lnTo>
                <a:lnTo>
                  <a:pt x="0" y="102615"/>
                </a:lnTo>
                <a:lnTo>
                  <a:pt x="37553" y="64008"/>
                </a:lnTo>
                <a:lnTo>
                  <a:pt x="79908" y="46609"/>
                </a:lnTo>
                <a:lnTo>
                  <a:pt x="135750" y="29337"/>
                </a:lnTo>
                <a:lnTo>
                  <a:pt x="203149" y="17272"/>
                </a:lnTo>
                <a:lnTo>
                  <a:pt x="280162" y="8000"/>
                </a:lnTo>
                <a:lnTo>
                  <a:pt x="365848" y="3937"/>
                </a:lnTo>
                <a:lnTo>
                  <a:pt x="458279" y="0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8" name="object 678"/>
          <p:cNvSpPr/>
          <p:nvPr/>
        </p:nvSpPr>
        <p:spPr>
          <a:xfrm>
            <a:off x="823912" y="3306826"/>
            <a:ext cx="916940" cy="802005"/>
          </a:xfrm>
          <a:custGeom>
            <a:avLst/>
            <a:gdLst/>
            <a:ahLst/>
            <a:cxnLst/>
            <a:rect l="l" t="t" r="r" b="b"/>
            <a:pathLst>
              <a:path w="916939" h="802004">
                <a:moveTo>
                  <a:pt x="458279" y="0"/>
                </a:moveTo>
                <a:lnTo>
                  <a:pt x="280162" y="8000"/>
                </a:lnTo>
                <a:lnTo>
                  <a:pt x="203149" y="17272"/>
                </a:lnTo>
                <a:lnTo>
                  <a:pt x="135750" y="29337"/>
                </a:lnTo>
                <a:lnTo>
                  <a:pt x="79908" y="46609"/>
                </a:lnTo>
                <a:lnTo>
                  <a:pt x="22148" y="72009"/>
                </a:lnTo>
                <a:lnTo>
                  <a:pt x="0" y="102615"/>
                </a:lnTo>
                <a:lnTo>
                  <a:pt x="0" y="702818"/>
                </a:lnTo>
                <a:lnTo>
                  <a:pt x="37553" y="741553"/>
                </a:lnTo>
                <a:lnTo>
                  <a:pt x="79908" y="758825"/>
                </a:lnTo>
                <a:lnTo>
                  <a:pt x="135750" y="770890"/>
                </a:lnTo>
                <a:lnTo>
                  <a:pt x="203149" y="784225"/>
                </a:lnTo>
                <a:lnTo>
                  <a:pt x="365848" y="801497"/>
                </a:lnTo>
                <a:lnTo>
                  <a:pt x="550735" y="801497"/>
                </a:lnTo>
                <a:lnTo>
                  <a:pt x="713422" y="784225"/>
                </a:lnTo>
                <a:lnTo>
                  <a:pt x="781748" y="770890"/>
                </a:lnTo>
                <a:lnTo>
                  <a:pt x="812609" y="766826"/>
                </a:lnTo>
                <a:lnTo>
                  <a:pt x="861631" y="749554"/>
                </a:lnTo>
                <a:lnTo>
                  <a:pt x="907859" y="724154"/>
                </a:lnTo>
                <a:lnTo>
                  <a:pt x="916622" y="702818"/>
                </a:lnTo>
                <a:lnTo>
                  <a:pt x="916622" y="102615"/>
                </a:lnTo>
                <a:lnTo>
                  <a:pt x="861631" y="54610"/>
                </a:lnTo>
                <a:lnTo>
                  <a:pt x="781748" y="29337"/>
                </a:lnTo>
                <a:lnTo>
                  <a:pt x="713422" y="17272"/>
                </a:lnTo>
                <a:lnTo>
                  <a:pt x="636333" y="8000"/>
                </a:lnTo>
                <a:lnTo>
                  <a:pt x="458279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9" name="object 679"/>
          <p:cNvSpPr/>
          <p:nvPr/>
        </p:nvSpPr>
        <p:spPr>
          <a:xfrm>
            <a:off x="8272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0" name="object 680"/>
          <p:cNvSpPr/>
          <p:nvPr/>
        </p:nvSpPr>
        <p:spPr>
          <a:xfrm>
            <a:off x="83210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1" name="object 681"/>
          <p:cNvSpPr/>
          <p:nvPr/>
        </p:nvSpPr>
        <p:spPr>
          <a:xfrm>
            <a:off x="8364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2" name="object 682"/>
          <p:cNvSpPr/>
          <p:nvPr/>
        </p:nvSpPr>
        <p:spPr>
          <a:xfrm>
            <a:off x="84076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3" name="object 683"/>
          <p:cNvSpPr/>
          <p:nvPr/>
        </p:nvSpPr>
        <p:spPr>
          <a:xfrm>
            <a:off x="8455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4" name="object 684"/>
          <p:cNvSpPr/>
          <p:nvPr/>
        </p:nvSpPr>
        <p:spPr>
          <a:xfrm>
            <a:off x="8503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5" name="object 685"/>
          <p:cNvSpPr/>
          <p:nvPr/>
        </p:nvSpPr>
        <p:spPr>
          <a:xfrm>
            <a:off x="8547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6" name="object 686"/>
          <p:cNvSpPr/>
          <p:nvPr/>
        </p:nvSpPr>
        <p:spPr>
          <a:xfrm>
            <a:off x="85953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7" name="object 687"/>
          <p:cNvSpPr/>
          <p:nvPr/>
        </p:nvSpPr>
        <p:spPr>
          <a:xfrm>
            <a:off x="8643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8" name="object 688"/>
          <p:cNvSpPr/>
          <p:nvPr/>
        </p:nvSpPr>
        <p:spPr>
          <a:xfrm>
            <a:off x="8701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9" name="object 689"/>
          <p:cNvSpPr/>
          <p:nvPr/>
        </p:nvSpPr>
        <p:spPr>
          <a:xfrm>
            <a:off x="87493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0" name="object 690"/>
          <p:cNvSpPr/>
          <p:nvPr/>
        </p:nvSpPr>
        <p:spPr>
          <a:xfrm>
            <a:off x="8797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1" name="object 691"/>
          <p:cNvSpPr/>
          <p:nvPr/>
        </p:nvSpPr>
        <p:spPr>
          <a:xfrm>
            <a:off x="8840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2" name="object 692"/>
          <p:cNvSpPr/>
          <p:nvPr/>
        </p:nvSpPr>
        <p:spPr>
          <a:xfrm>
            <a:off x="88890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3" name="object 693"/>
          <p:cNvSpPr/>
          <p:nvPr/>
        </p:nvSpPr>
        <p:spPr>
          <a:xfrm>
            <a:off x="8937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4" name="object 694"/>
          <p:cNvSpPr/>
          <p:nvPr/>
        </p:nvSpPr>
        <p:spPr>
          <a:xfrm>
            <a:off x="89804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5" name="object 695"/>
          <p:cNvSpPr/>
          <p:nvPr/>
        </p:nvSpPr>
        <p:spPr>
          <a:xfrm>
            <a:off x="90382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6" name="object 696"/>
          <p:cNvSpPr/>
          <p:nvPr/>
        </p:nvSpPr>
        <p:spPr>
          <a:xfrm>
            <a:off x="90864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7" name="object 697"/>
          <p:cNvSpPr/>
          <p:nvPr/>
        </p:nvSpPr>
        <p:spPr>
          <a:xfrm>
            <a:off x="9134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8" name="object 698"/>
          <p:cNvSpPr/>
          <p:nvPr/>
        </p:nvSpPr>
        <p:spPr>
          <a:xfrm>
            <a:off x="9177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9" name="object 699"/>
          <p:cNvSpPr/>
          <p:nvPr/>
        </p:nvSpPr>
        <p:spPr>
          <a:xfrm>
            <a:off x="92259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0" name="object 700"/>
          <p:cNvSpPr/>
          <p:nvPr/>
        </p:nvSpPr>
        <p:spPr>
          <a:xfrm>
            <a:off x="9274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1" name="object 701"/>
          <p:cNvSpPr/>
          <p:nvPr/>
        </p:nvSpPr>
        <p:spPr>
          <a:xfrm>
            <a:off x="93174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2" name="object 702"/>
          <p:cNvSpPr/>
          <p:nvPr/>
        </p:nvSpPr>
        <p:spPr>
          <a:xfrm>
            <a:off x="9360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3" name="object 703"/>
          <p:cNvSpPr/>
          <p:nvPr/>
        </p:nvSpPr>
        <p:spPr>
          <a:xfrm>
            <a:off x="94088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4" name="object 704"/>
          <p:cNvSpPr/>
          <p:nvPr/>
        </p:nvSpPr>
        <p:spPr>
          <a:xfrm>
            <a:off x="9471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5" name="object 705"/>
          <p:cNvSpPr/>
          <p:nvPr/>
        </p:nvSpPr>
        <p:spPr>
          <a:xfrm>
            <a:off x="95148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6" name="object 706"/>
          <p:cNvSpPr/>
          <p:nvPr/>
        </p:nvSpPr>
        <p:spPr>
          <a:xfrm>
            <a:off x="9562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7" name="object 707"/>
          <p:cNvSpPr/>
          <p:nvPr/>
        </p:nvSpPr>
        <p:spPr>
          <a:xfrm>
            <a:off x="96110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8" name="object 708"/>
          <p:cNvSpPr/>
          <p:nvPr/>
        </p:nvSpPr>
        <p:spPr>
          <a:xfrm>
            <a:off x="96543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9" name="object 709"/>
          <p:cNvSpPr/>
          <p:nvPr/>
        </p:nvSpPr>
        <p:spPr>
          <a:xfrm>
            <a:off x="9702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0" name="object 710"/>
          <p:cNvSpPr/>
          <p:nvPr/>
        </p:nvSpPr>
        <p:spPr>
          <a:xfrm>
            <a:off x="97507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1" name="object 711"/>
          <p:cNvSpPr/>
          <p:nvPr/>
        </p:nvSpPr>
        <p:spPr>
          <a:xfrm>
            <a:off x="98083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2" name="object 712"/>
          <p:cNvSpPr/>
          <p:nvPr/>
        </p:nvSpPr>
        <p:spPr>
          <a:xfrm>
            <a:off x="9856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3" name="object 713"/>
          <p:cNvSpPr/>
          <p:nvPr/>
        </p:nvSpPr>
        <p:spPr>
          <a:xfrm>
            <a:off x="9904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4" name="object 714"/>
          <p:cNvSpPr/>
          <p:nvPr/>
        </p:nvSpPr>
        <p:spPr>
          <a:xfrm>
            <a:off x="9947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5" name="object 715"/>
          <p:cNvSpPr/>
          <p:nvPr/>
        </p:nvSpPr>
        <p:spPr>
          <a:xfrm>
            <a:off x="9996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6" name="object 716"/>
          <p:cNvSpPr/>
          <p:nvPr/>
        </p:nvSpPr>
        <p:spPr>
          <a:xfrm>
            <a:off x="100443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7" name="object 717"/>
          <p:cNvSpPr/>
          <p:nvPr/>
        </p:nvSpPr>
        <p:spPr>
          <a:xfrm>
            <a:off x="10087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8" name="object 718"/>
          <p:cNvSpPr/>
          <p:nvPr/>
        </p:nvSpPr>
        <p:spPr>
          <a:xfrm>
            <a:off x="101310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9" name="object 719"/>
          <p:cNvSpPr/>
          <p:nvPr/>
        </p:nvSpPr>
        <p:spPr>
          <a:xfrm>
            <a:off x="10179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0" name="object 720"/>
          <p:cNvSpPr/>
          <p:nvPr/>
        </p:nvSpPr>
        <p:spPr>
          <a:xfrm>
            <a:off x="10241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1" name="object 721"/>
          <p:cNvSpPr/>
          <p:nvPr/>
        </p:nvSpPr>
        <p:spPr>
          <a:xfrm>
            <a:off x="102850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2" name="object 722"/>
          <p:cNvSpPr/>
          <p:nvPr/>
        </p:nvSpPr>
        <p:spPr>
          <a:xfrm>
            <a:off x="10333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3" name="object 723"/>
          <p:cNvSpPr/>
          <p:nvPr/>
        </p:nvSpPr>
        <p:spPr>
          <a:xfrm>
            <a:off x="10381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4" name="object 724"/>
          <p:cNvSpPr/>
          <p:nvPr/>
        </p:nvSpPr>
        <p:spPr>
          <a:xfrm>
            <a:off x="10424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5" name="object 725"/>
          <p:cNvSpPr/>
          <p:nvPr/>
        </p:nvSpPr>
        <p:spPr>
          <a:xfrm>
            <a:off x="104679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6" name="object 726"/>
          <p:cNvSpPr/>
          <p:nvPr/>
        </p:nvSpPr>
        <p:spPr>
          <a:xfrm>
            <a:off x="10516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7" name="object 727"/>
          <p:cNvSpPr/>
          <p:nvPr/>
        </p:nvSpPr>
        <p:spPr>
          <a:xfrm>
            <a:off x="10578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8" name="object 728"/>
          <p:cNvSpPr/>
          <p:nvPr/>
        </p:nvSpPr>
        <p:spPr>
          <a:xfrm>
            <a:off x="10621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9" name="object 729"/>
          <p:cNvSpPr/>
          <p:nvPr/>
        </p:nvSpPr>
        <p:spPr>
          <a:xfrm>
            <a:off x="10670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0" name="object 730"/>
          <p:cNvSpPr/>
          <p:nvPr/>
        </p:nvSpPr>
        <p:spPr>
          <a:xfrm>
            <a:off x="107182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1" name="object 731"/>
          <p:cNvSpPr/>
          <p:nvPr/>
        </p:nvSpPr>
        <p:spPr>
          <a:xfrm>
            <a:off x="10761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2" name="object 732"/>
          <p:cNvSpPr/>
          <p:nvPr/>
        </p:nvSpPr>
        <p:spPr>
          <a:xfrm>
            <a:off x="108096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3" name="object 733"/>
          <p:cNvSpPr/>
          <p:nvPr/>
        </p:nvSpPr>
        <p:spPr>
          <a:xfrm>
            <a:off x="10857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4" name="object 734"/>
          <p:cNvSpPr/>
          <p:nvPr/>
        </p:nvSpPr>
        <p:spPr>
          <a:xfrm>
            <a:off x="109012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5" name="object 735"/>
          <p:cNvSpPr/>
          <p:nvPr/>
        </p:nvSpPr>
        <p:spPr>
          <a:xfrm>
            <a:off x="109493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6" name="object 736"/>
          <p:cNvSpPr/>
          <p:nvPr/>
        </p:nvSpPr>
        <p:spPr>
          <a:xfrm>
            <a:off x="110119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7" name="object 737"/>
          <p:cNvSpPr/>
          <p:nvPr/>
        </p:nvSpPr>
        <p:spPr>
          <a:xfrm>
            <a:off x="110551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8" name="object 738"/>
          <p:cNvSpPr/>
          <p:nvPr/>
        </p:nvSpPr>
        <p:spPr>
          <a:xfrm>
            <a:off x="110985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9" name="object 739"/>
          <p:cNvSpPr/>
          <p:nvPr/>
        </p:nvSpPr>
        <p:spPr>
          <a:xfrm>
            <a:off x="11146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0" name="object 740"/>
          <p:cNvSpPr/>
          <p:nvPr/>
        </p:nvSpPr>
        <p:spPr>
          <a:xfrm>
            <a:off x="111948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1" name="object 741"/>
          <p:cNvSpPr/>
          <p:nvPr/>
        </p:nvSpPr>
        <p:spPr>
          <a:xfrm>
            <a:off x="11238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2" name="object 742"/>
          <p:cNvSpPr/>
          <p:nvPr/>
        </p:nvSpPr>
        <p:spPr>
          <a:xfrm>
            <a:off x="11286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3" name="object 743"/>
          <p:cNvSpPr/>
          <p:nvPr/>
        </p:nvSpPr>
        <p:spPr>
          <a:xfrm>
            <a:off x="113489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4" name="object 744"/>
          <p:cNvSpPr/>
          <p:nvPr/>
        </p:nvSpPr>
        <p:spPr>
          <a:xfrm>
            <a:off x="113922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5" name="object 745"/>
          <p:cNvSpPr/>
          <p:nvPr/>
        </p:nvSpPr>
        <p:spPr>
          <a:xfrm>
            <a:off x="11440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6" name="object 746"/>
          <p:cNvSpPr/>
          <p:nvPr/>
        </p:nvSpPr>
        <p:spPr>
          <a:xfrm>
            <a:off x="114885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7" name="object 747"/>
          <p:cNvSpPr/>
          <p:nvPr/>
        </p:nvSpPr>
        <p:spPr>
          <a:xfrm>
            <a:off x="11531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8" name="object 748"/>
          <p:cNvSpPr/>
          <p:nvPr/>
        </p:nvSpPr>
        <p:spPr>
          <a:xfrm>
            <a:off x="115751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9" name="object 749"/>
          <p:cNvSpPr/>
          <p:nvPr/>
        </p:nvSpPr>
        <p:spPr>
          <a:xfrm>
            <a:off x="116233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0" name="object 750"/>
          <p:cNvSpPr/>
          <p:nvPr/>
        </p:nvSpPr>
        <p:spPr>
          <a:xfrm>
            <a:off x="11671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1" name="object 751"/>
          <p:cNvSpPr/>
          <p:nvPr/>
        </p:nvSpPr>
        <p:spPr>
          <a:xfrm>
            <a:off x="11714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2" name="object 752"/>
          <p:cNvSpPr/>
          <p:nvPr/>
        </p:nvSpPr>
        <p:spPr>
          <a:xfrm>
            <a:off x="11777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3" name="object 753"/>
          <p:cNvSpPr/>
          <p:nvPr/>
        </p:nvSpPr>
        <p:spPr>
          <a:xfrm>
            <a:off x="11825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4" name="object 754"/>
          <p:cNvSpPr/>
          <p:nvPr/>
        </p:nvSpPr>
        <p:spPr>
          <a:xfrm>
            <a:off x="118688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5" name="object 755"/>
          <p:cNvSpPr/>
          <p:nvPr/>
        </p:nvSpPr>
        <p:spPr>
          <a:xfrm>
            <a:off x="119168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6" name="object 756"/>
          <p:cNvSpPr/>
          <p:nvPr/>
        </p:nvSpPr>
        <p:spPr>
          <a:xfrm>
            <a:off x="11965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7" name="object 757"/>
          <p:cNvSpPr/>
          <p:nvPr/>
        </p:nvSpPr>
        <p:spPr>
          <a:xfrm>
            <a:off x="12008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8" name="object 758"/>
          <p:cNvSpPr/>
          <p:nvPr/>
        </p:nvSpPr>
        <p:spPr>
          <a:xfrm>
            <a:off x="12056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9" name="object 759"/>
          <p:cNvSpPr/>
          <p:nvPr/>
        </p:nvSpPr>
        <p:spPr>
          <a:xfrm>
            <a:off x="12119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0" name="object 760"/>
          <p:cNvSpPr/>
          <p:nvPr/>
        </p:nvSpPr>
        <p:spPr>
          <a:xfrm>
            <a:off x="12162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1" name="object 761"/>
          <p:cNvSpPr/>
          <p:nvPr/>
        </p:nvSpPr>
        <p:spPr>
          <a:xfrm>
            <a:off x="122057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2" name="object 762"/>
          <p:cNvSpPr/>
          <p:nvPr/>
        </p:nvSpPr>
        <p:spPr>
          <a:xfrm>
            <a:off x="12253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3" name="object 763"/>
          <p:cNvSpPr/>
          <p:nvPr/>
        </p:nvSpPr>
        <p:spPr>
          <a:xfrm>
            <a:off x="12302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4" name="object 764"/>
          <p:cNvSpPr/>
          <p:nvPr/>
        </p:nvSpPr>
        <p:spPr>
          <a:xfrm>
            <a:off x="12345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5" name="object 765"/>
          <p:cNvSpPr/>
          <p:nvPr/>
        </p:nvSpPr>
        <p:spPr>
          <a:xfrm>
            <a:off x="12393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6" name="object 766"/>
          <p:cNvSpPr/>
          <p:nvPr/>
        </p:nvSpPr>
        <p:spPr>
          <a:xfrm>
            <a:off x="12441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7" name="object 767"/>
          <p:cNvSpPr/>
          <p:nvPr/>
        </p:nvSpPr>
        <p:spPr>
          <a:xfrm>
            <a:off x="124849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8" name="object 768"/>
          <p:cNvSpPr/>
          <p:nvPr/>
        </p:nvSpPr>
        <p:spPr>
          <a:xfrm>
            <a:off x="125475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9" name="object 769"/>
          <p:cNvSpPr/>
          <p:nvPr/>
        </p:nvSpPr>
        <p:spPr>
          <a:xfrm>
            <a:off x="12595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0" name="object 770"/>
          <p:cNvSpPr/>
          <p:nvPr/>
        </p:nvSpPr>
        <p:spPr>
          <a:xfrm>
            <a:off x="126389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1" name="object 771"/>
          <p:cNvSpPr/>
          <p:nvPr/>
        </p:nvSpPr>
        <p:spPr>
          <a:xfrm>
            <a:off x="12682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2" name="object 772"/>
          <p:cNvSpPr/>
          <p:nvPr/>
        </p:nvSpPr>
        <p:spPr>
          <a:xfrm>
            <a:off x="127305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3" name="object 773"/>
          <p:cNvSpPr/>
          <p:nvPr/>
        </p:nvSpPr>
        <p:spPr>
          <a:xfrm>
            <a:off x="12779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4" name="object 774"/>
          <p:cNvSpPr/>
          <p:nvPr/>
        </p:nvSpPr>
        <p:spPr>
          <a:xfrm>
            <a:off x="12821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5" name="object 775"/>
          <p:cNvSpPr/>
          <p:nvPr/>
        </p:nvSpPr>
        <p:spPr>
          <a:xfrm>
            <a:off x="12884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6" name="object 776"/>
          <p:cNvSpPr/>
          <p:nvPr/>
        </p:nvSpPr>
        <p:spPr>
          <a:xfrm>
            <a:off x="129328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7" name="object 777"/>
          <p:cNvSpPr/>
          <p:nvPr/>
        </p:nvSpPr>
        <p:spPr>
          <a:xfrm>
            <a:off x="12976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8" name="object 778"/>
          <p:cNvSpPr/>
          <p:nvPr/>
        </p:nvSpPr>
        <p:spPr>
          <a:xfrm>
            <a:off x="130240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9" name="object 779"/>
          <p:cNvSpPr/>
          <p:nvPr/>
        </p:nvSpPr>
        <p:spPr>
          <a:xfrm>
            <a:off x="130717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0" name="object 780"/>
          <p:cNvSpPr/>
          <p:nvPr/>
        </p:nvSpPr>
        <p:spPr>
          <a:xfrm>
            <a:off x="13115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1" name="object 781"/>
          <p:cNvSpPr/>
          <p:nvPr/>
        </p:nvSpPr>
        <p:spPr>
          <a:xfrm>
            <a:off x="131642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2" name="object 782"/>
          <p:cNvSpPr/>
          <p:nvPr/>
        </p:nvSpPr>
        <p:spPr>
          <a:xfrm>
            <a:off x="13212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3" name="object 783"/>
          <p:cNvSpPr/>
          <p:nvPr/>
        </p:nvSpPr>
        <p:spPr>
          <a:xfrm>
            <a:off x="13254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4" name="object 784"/>
          <p:cNvSpPr/>
          <p:nvPr/>
        </p:nvSpPr>
        <p:spPr>
          <a:xfrm>
            <a:off x="13313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5" name="object 785"/>
          <p:cNvSpPr/>
          <p:nvPr/>
        </p:nvSpPr>
        <p:spPr>
          <a:xfrm>
            <a:off x="13360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6" name="object 786"/>
          <p:cNvSpPr/>
          <p:nvPr/>
        </p:nvSpPr>
        <p:spPr>
          <a:xfrm>
            <a:off x="13409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7" name="object 787"/>
          <p:cNvSpPr/>
          <p:nvPr/>
        </p:nvSpPr>
        <p:spPr>
          <a:xfrm>
            <a:off x="13452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8" name="object 788"/>
          <p:cNvSpPr/>
          <p:nvPr/>
        </p:nvSpPr>
        <p:spPr>
          <a:xfrm>
            <a:off x="135007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9" name="object 789"/>
          <p:cNvSpPr/>
          <p:nvPr/>
        </p:nvSpPr>
        <p:spPr>
          <a:xfrm>
            <a:off x="13548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0" name="object 790"/>
          <p:cNvSpPr/>
          <p:nvPr/>
        </p:nvSpPr>
        <p:spPr>
          <a:xfrm>
            <a:off x="135924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1" name="object 791"/>
          <p:cNvSpPr/>
          <p:nvPr/>
        </p:nvSpPr>
        <p:spPr>
          <a:xfrm>
            <a:off x="136544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2" name="object 792"/>
          <p:cNvSpPr/>
          <p:nvPr/>
        </p:nvSpPr>
        <p:spPr>
          <a:xfrm>
            <a:off x="13702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3" name="object 793"/>
          <p:cNvSpPr/>
          <p:nvPr/>
        </p:nvSpPr>
        <p:spPr>
          <a:xfrm>
            <a:off x="13746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4" name="object 794"/>
          <p:cNvSpPr/>
          <p:nvPr/>
        </p:nvSpPr>
        <p:spPr>
          <a:xfrm>
            <a:off x="13790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5" name="object 795"/>
          <p:cNvSpPr/>
          <p:nvPr/>
        </p:nvSpPr>
        <p:spPr>
          <a:xfrm>
            <a:off x="138373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6" name="object 796"/>
          <p:cNvSpPr/>
          <p:nvPr/>
        </p:nvSpPr>
        <p:spPr>
          <a:xfrm>
            <a:off x="138853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7" name="object 797"/>
          <p:cNvSpPr/>
          <p:nvPr/>
        </p:nvSpPr>
        <p:spPr>
          <a:xfrm>
            <a:off x="13929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8" name="object 798"/>
          <p:cNvSpPr/>
          <p:nvPr/>
        </p:nvSpPr>
        <p:spPr>
          <a:xfrm>
            <a:off x="13977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9" name="object 799"/>
          <p:cNvSpPr/>
          <p:nvPr/>
        </p:nvSpPr>
        <p:spPr>
          <a:xfrm>
            <a:off x="140255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0" name="object 800"/>
          <p:cNvSpPr/>
          <p:nvPr/>
        </p:nvSpPr>
        <p:spPr>
          <a:xfrm>
            <a:off x="140827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1" name="object 801"/>
          <p:cNvSpPr/>
          <p:nvPr/>
        </p:nvSpPr>
        <p:spPr>
          <a:xfrm>
            <a:off x="141314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2" name="object 802"/>
          <p:cNvSpPr/>
          <p:nvPr/>
        </p:nvSpPr>
        <p:spPr>
          <a:xfrm>
            <a:off x="141792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3" name="object 803"/>
          <p:cNvSpPr/>
          <p:nvPr/>
        </p:nvSpPr>
        <p:spPr>
          <a:xfrm>
            <a:off x="14223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4" name="object 804"/>
          <p:cNvSpPr/>
          <p:nvPr/>
        </p:nvSpPr>
        <p:spPr>
          <a:xfrm>
            <a:off x="142655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5" name="object 805"/>
          <p:cNvSpPr/>
          <p:nvPr/>
        </p:nvSpPr>
        <p:spPr>
          <a:xfrm>
            <a:off x="143143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6" name="object 806"/>
          <p:cNvSpPr/>
          <p:nvPr/>
        </p:nvSpPr>
        <p:spPr>
          <a:xfrm>
            <a:off x="14362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7" name="object 807"/>
          <p:cNvSpPr/>
          <p:nvPr/>
        </p:nvSpPr>
        <p:spPr>
          <a:xfrm>
            <a:off x="144205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8" name="object 808"/>
          <p:cNvSpPr/>
          <p:nvPr/>
        </p:nvSpPr>
        <p:spPr>
          <a:xfrm>
            <a:off x="144680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9" name="object 809"/>
          <p:cNvSpPr/>
          <p:nvPr/>
        </p:nvSpPr>
        <p:spPr>
          <a:xfrm>
            <a:off x="145170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0" name="object 810"/>
          <p:cNvSpPr/>
          <p:nvPr/>
        </p:nvSpPr>
        <p:spPr>
          <a:xfrm>
            <a:off x="14559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1" name="object 811"/>
          <p:cNvSpPr/>
          <p:nvPr/>
        </p:nvSpPr>
        <p:spPr>
          <a:xfrm>
            <a:off x="14608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2" name="object 812"/>
          <p:cNvSpPr/>
          <p:nvPr/>
        </p:nvSpPr>
        <p:spPr>
          <a:xfrm>
            <a:off x="146562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3" name="object 813"/>
          <p:cNvSpPr/>
          <p:nvPr/>
        </p:nvSpPr>
        <p:spPr>
          <a:xfrm>
            <a:off x="146999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4" name="object 814"/>
          <p:cNvSpPr/>
          <p:nvPr/>
        </p:nvSpPr>
        <p:spPr>
          <a:xfrm>
            <a:off x="147426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5" name="object 815"/>
          <p:cNvSpPr/>
          <p:nvPr/>
        </p:nvSpPr>
        <p:spPr>
          <a:xfrm>
            <a:off x="147910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6" name="object 816"/>
          <p:cNvSpPr/>
          <p:nvPr/>
        </p:nvSpPr>
        <p:spPr>
          <a:xfrm>
            <a:off x="148535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7" name="object 817"/>
          <p:cNvSpPr/>
          <p:nvPr/>
        </p:nvSpPr>
        <p:spPr>
          <a:xfrm>
            <a:off x="148963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8" name="object 818"/>
          <p:cNvSpPr/>
          <p:nvPr/>
        </p:nvSpPr>
        <p:spPr>
          <a:xfrm>
            <a:off x="149447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9" name="object 819"/>
          <p:cNvSpPr/>
          <p:nvPr/>
        </p:nvSpPr>
        <p:spPr>
          <a:xfrm>
            <a:off x="14992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0" name="object 820"/>
          <p:cNvSpPr/>
          <p:nvPr/>
        </p:nvSpPr>
        <p:spPr>
          <a:xfrm>
            <a:off x="150364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1" name="object 821"/>
          <p:cNvSpPr/>
          <p:nvPr/>
        </p:nvSpPr>
        <p:spPr>
          <a:xfrm>
            <a:off x="15083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2" name="object 822"/>
          <p:cNvSpPr/>
          <p:nvPr/>
        </p:nvSpPr>
        <p:spPr>
          <a:xfrm>
            <a:off x="151329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3" name="object 823"/>
          <p:cNvSpPr/>
          <p:nvPr/>
        </p:nvSpPr>
        <p:spPr>
          <a:xfrm>
            <a:off x="151901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4" name="object 824"/>
          <p:cNvSpPr/>
          <p:nvPr/>
        </p:nvSpPr>
        <p:spPr>
          <a:xfrm>
            <a:off x="152389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5" name="object 825"/>
          <p:cNvSpPr/>
          <p:nvPr/>
        </p:nvSpPr>
        <p:spPr>
          <a:xfrm>
            <a:off x="152866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6" name="object 826"/>
          <p:cNvSpPr/>
          <p:nvPr/>
        </p:nvSpPr>
        <p:spPr>
          <a:xfrm>
            <a:off x="153293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7" name="object 827"/>
          <p:cNvSpPr/>
          <p:nvPr/>
        </p:nvSpPr>
        <p:spPr>
          <a:xfrm>
            <a:off x="153730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8" name="object 828"/>
          <p:cNvSpPr/>
          <p:nvPr/>
        </p:nvSpPr>
        <p:spPr>
          <a:xfrm>
            <a:off x="15421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1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9" name="object 829"/>
          <p:cNvSpPr/>
          <p:nvPr/>
        </p:nvSpPr>
        <p:spPr>
          <a:xfrm>
            <a:off x="154695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0" name="object 830"/>
          <p:cNvSpPr/>
          <p:nvPr/>
        </p:nvSpPr>
        <p:spPr>
          <a:xfrm>
            <a:off x="155122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1" name="object 831"/>
          <p:cNvSpPr/>
          <p:nvPr/>
        </p:nvSpPr>
        <p:spPr>
          <a:xfrm>
            <a:off x="15560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2" name="object 832"/>
          <p:cNvSpPr/>
          <p:nvPr/>
        </p:nvSpPr>
        <p:spPr>
          <a:xfrm>
            <a:off x="156232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3" name="object 833"/>
          <p:cNvSpPr/>
          <p:nvPr/>
        </p:nvSpPr>
        <p:spPr>
          <a:xfrm>
            <a:off x="156671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4" name="object 834"/>
          <p:cNvSpPr/>
          <p:nvPr/>
        </p:nvSpPr>
        <p:spPr>
          <a:xfrm>
            <a:off x="15715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5" name="object 835"/>
          <p:cNvSpPr/>
          <p:nvPr/>
        </p:nvSpPr>
        <p:spPr>
          <a:xfrm>
            <a:off x="157637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6" name="object 836"/>
          <p:cNvSpPr/>
          <p:nvPr/>
        </p:nvSpPr>
        <p:spPr>
          <a:xfrm>
            <a:off x="158060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7" name="object 837"/>
          <p:cNvSpPr/>
          <p:nvPr/>
        </p:nvSpPr>
        <p:spPr>
          <a:xfrm>
            <a:off x="158500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8" name="object 838"/>
          <p:cNvSpPr/>
          <p:nvPr/>
        </p:nvSpPr>
        <p:spPr>
          <a:xfrm>
            <a:off x="15898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9" name="object 839"/>
          <p:cNvSpPr/>
          <p:nvPr/>
        </p:nvSpPr>
        <p:spPr>
          <a:xfrm>
            <a:off x="159610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0" name="object 840"/>
          <p:cNvSpPr/>
          <p:nvPr/>
        </p:nvSpPr>
        <p:spPr>
          <a:xfrm>
            <a:off x="160037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1" name="object 841"/>
          <p:cNvSpPr/>
          <p:nvPr/>
        </p:nvSpPr>
        <p:spPr>
          <a:xfrm>
            <a:off x="160522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2" name="object 842"/>
          <p:cNvSpPr/>
          <p:nvPr/>
        </p:nvSpPr>
        <p:spPr>
          <a:xfrm>
            <a:off x="161002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3" name="object 843"/>
          <p:cNvSpPr/>
          <p:nvPr/>
        </p:nvSpPr>
        <p:spPr>
          <a:xfrm>
            <a:off x="161439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4" name="object 844"/>
          <p:cNvSpPr/>
          <p:nvPr/>
        </p:nvSpPr>
        <p:spPr>
          <a:xfrm>
            <a:off x="161914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5" name="object 845"/>
          <p:cNvSpPr/>
          <p:nvPr/>
        </p:nvSpPr>
        <p:spPr>
          <a:xfrm>
            <a:off x="162391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6" name="object 846"/>
          <p:cNvSpPr/>
          <p:nvPr/>
        </p:nvSpPr>
        <p:spPr>
          <a:xfrm>
            <a:off x="162831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7" name="object 847"/>
          <p:cNvSpPr/>
          <p:nvPr/>
        </p:nvSpPr>
        <p:spPr>
          <a:xfrm>
            <a:off x="16331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8" name="object 848"/>
          <p:cNvSpPr/>
          <p:nvPr/>
        </p:nvSpPr>
        <p:spPr>
          <a:xfrm>
            <a:off x="163941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9" name="object 849"/>
          <p:cNvSpPr/>
          <p:nvPr/>
        </p:nvSpPr>
        <p:spPr>
          <a:xfrm>
            <a:off x="164368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0" name="object 850"/>
          <p:cNvSpPr/>
          <p:nvPr/>
        </p:nvSpPr>
        <p:spPr>
          <a:xfrm>
            <a:off x="1648046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1" name="object 851"/>
          <p:cNvSpPr/>
          <p:nvPr/>
        </p:nvSpPr>
        <p:spPr>
          <a:xfrm>
            <a:off x="16527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2" name="object 852"/>
          <p:cNvSpPr/>
          <p:nvPr/>
        </p:nvSpPr>
        <p:spPr>
          <a:xfrm>
            <a:off x="165769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7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3" name="object 853"/>
          <p:cNvSpPr/>
          <p:nvPr/>
        </p:nvSpPr>
        <p:spPr>
          <a:xfrm>
            <a:off x="166196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4" name="object 854"/>
          <p:cNvSpPr/>
          <p:nvPr/>
        </p:nvSpPr>
        <p:spPr>
          <a:xfrm>
            <a:off x="166681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5" name="object 855"/>
          <p:cNvSpPr/>
          <p:nvPr/>
        </p:nvSpPr>
        <p:spPr>
          <a:xfrm>
            <a:off x="167306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6" name="object 856"/>
          <p:cNvSpPr/>
          <p:nvPr/>
        </p:nvSpPr>
        <p:spPr>
          <a:xfrm>
            <a:off x="167746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7" name="object 857"/>
          <p:cNvSpPr/>
          <p:nvPr/>
        </p:nvSpPr>
        <p:spPr>
          <a:xfrm>
            <a:off x="1682182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8" name="object 858"/>
          <p:cNvSpPr/>
          <p:nvPr/>
        </p:nvSpPr>
        <p:spPr>
          <a:xfrm>
            <a:off x="16869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9" name="object 859"/>
          <p:cNvSpPr/>
          <p:nvPr/>
        </p:nvSpPr>
        <p:spPr>
          <a:xfrm>
            <a:off x="169135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0" name="object 860"/>
          <p:cNvSpPr/>
          <p:nvPr/>
        </p:nvSpPr>
        <p:spPr>
          <a:xfrm>
            <a:off x="169575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1" name="object 861"/>
          <p:cNvSpPr/>
          <p:nvPr/>
        </p:nvSpPr>
        <p:spPr>
          <a:xfrm>
            <a:off x="170047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8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2" name="object 862"/>
          <p:cNvSpPr/>
          <p:nvPr/>
        </p:nvSpPr>
        <p:spPr>
          <a:xfrm>
            <a:off x="1705275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3" name="object 863"/>
          <p:cNvSpPr/>
          <p:nvPr/>
        </p:nvSpPr>
        <p:spPr>
          <a:xfrm>
            <a:off x="1709641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4" name="object 864"/>
          <p:cNvSpPr/>
          <p:nvPr/>
        </p:nvSpPr>
        <p:spPr>
          <a:xfrm>
            <a:off x="1715964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6739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5" name="object 865"/>
          <p:cNvSpPr/>
          <p:nvPr/>
        </p:nvSpPr>
        <p:spPr>
          <a:xfrm>
            <a:off x="1720769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6" name="object 866"/>
          <p:cNvSpPr/>
          <p:nvPr/>
        </p:nvSpPr>
        <p:spPr>
          <a:xfrm>
            <a:off x="1725008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7" name="object 867"/>
          <p:cNvSpPr/>
          <p:nvPr/>
        </p:nvSpPr>
        <p:spPr>
          <a:xfrm>
            <a:off x="172988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850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8" name="object 868"/>
          <p:cNvSpPr/>
          <p:nvPr/>
        </p:nvSpPr>
        <p:spPr>
          <a:xfrm>
            <a:off x="1734660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9" name="object 869"/>
          <p:cNvSpPr/>
          <p:nvPr/>
        </p:nvSpPr>
        <p:spPr>
          <a:xfrm>
            <a:off x="1739057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3175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0" name="object 870"/>
          <p:cNvSpPr/>
          <p:nvPr/>
        </p:nvSpPr>
        <p:spPr>
          <a:xfrm>
            <a:off x="1743423" y="3306698"/>
            <a:ext cx="0" cy="809625"/>
          </a:xfrm>
          <a:custGeom>
            <a:avLst/>
            <a:gdLst/>
            <a:ahLst/>
            <a:cxnLst/>
            <a:rect l="l" t="t" r="r" b="b"/>
            <a:pathLst>
              <a:path h="809625">
                <a:moveTo>
                  <a:pt x="0" y="0"/>
                </a:moveTo>
                <a:lnTo>
                  <a:pt x="0" y="809625"/>
                </a:lnTo>
              </a:path>
            </a:pathLst>
          </a:custGeom>
          <a:ln w="5776">
            <a:solidFill>
              <a:srgbClr val="CCC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1" name="object 871"/>
          <p:cNvSpPr/>
          <p:nvPr/>
        </p:nvSpPr>
        <p:spPr>
          <a:xfrm>
            <a:off x="823912" y="3306826"/>
            <a:ext cx="916940" cy="200025"/>
          </a:xfrm>
          <a:custGeom>
            <a:avLst/>
            <a:gdLst/>
            <a:ahLst/>
            <a:cxnLst/>
            <a:rect l="l" t="t" r="r" b="b"/>
            <a:pathLst>
              <a:path w="916939" h="200025">
                <a:moveTo>
                  <a:pt x="458279" y="0"/>
                </a:moveTo>
                <a:lnTo>
                  <a:pt x="280162" y="8000"/>
                </a:lnTo>
                <a:lnTo>
                  <a:pt x="203149" y="17272"/>
                </a:lnTo>
                <a:lnTo>
                  <a:pt x="135750" y="29337"/>
                </a:lnTo>
                <a:lnTo>
                  <a:pt x="79908" y="46609"/>
                </a:lnTo>
                <a:lnTo>
                  <a:pt x="22148" y="72009"/>
                </a:lnTo>
                <a:lnTo>
                  <a:pt x="0" y="102615"/>
                </a:lnTo>
                <a:lnTo>
                  <a:pt x="2882" y="110616"/>
                </a:lnTo>
                <a:lnTo>
                  <a:pt x="9626" y="123951"/>
                </a:lnTo>
                <a:lnTo>
                  <a:pt x="22148" y="131952"/>
                </a:lnTo>
                <a:lnTo>
                  <a:pt x="55841" y="149351"/>
                </a:lnTo>
                <a:lnTo>
                  <a:pt x="79908" y="157352"/>
                </a:lnTo>
                <a:lnTo>
                  <a:pt x="104940" y="166624"/>
                </a:lnTo>
                <a:lnTo>
                  <a:pt x="135750" y="170687"/>
                </a:lnTo>
                <a:lnTo>
                  <a:pt x="203149" y="182625"/>
                </a:lnTo>
                <a:lnTo>
                  <a:pt x="280162" y="192024"/>
                </a:lnTo>
                <a:lnTo>
                  <a:pt x="365848" y="200025"/>
                </a:lnTo>
                <a:lnTo>
                  <a:pt x="550735" y="200025"/>
                </a:lnTo>
                <a:lnTo>
                  <a:pt x="636333" y="192024"/>
                </a:lnTo>
                <a:lnTo>
                  <a:pt x="713422" y="182625"/>
                </a:lnTo>
                <a:lnTo>
                  <a:pt x="781748" y="170687"/>
                </a:lnTo>
                <a:lnTo>
                  <a:pt x="812609" y="166624"/>
                </a:lnTo>
                <a:lnTo>
                  <a:pt x="861631" y="149351"/>
                </a:lnTo>
                <a:lnTo>
                  <a:pt x="907859" y="123951"/>
                </a:lnTo>
                <a:lnTo>
                  <a:pt x="916622" y="102615"/>
                </a:lnTo>
                <a:lnTo>
                  <a:pt x="913701" y="93345"/>
                </a:lnTo>
                <a:lnTo>
                  <a:pt x="861631" y="54610"/>
                </a:lnTo>
                <a:lnTo>
                  <a:pt x="781748" y="29337"/>
                </a:lnTo>
                <a:lnTo>
                  <a:pt x="713422" y="17272"/>
                </a:lnTo>
                <a:lnTo>
                  <a:pt x="636333" y="8000"/>
                </a:lnTo>
                <a:lnTo>
                  <a:pt x="458279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2" name="object 872"/>
          <p:cNvSpPr/>
          <p:nvPr/>
        </p:nvSpPr>
        <p:spPr>
          <a:xfrm>
            <a:off x="823912" y="3306826"/>
            <a:ext cx="916940" cy="802005"/>
          </a:xfrm>
          <a:custGeom>
            <a:avLst/>
            <a:gdLst/>
            <a:ahLst/>
            <a:cxnLst/>
            <a:rect l="l" t="t" r="r" b="b"/>
            <a:pathLst>
              <a:path w="916939" h="802004">
                <a:moveTo>
                  <a:pt x="458279" y="0"/>
                </a:moveTo>
                <a:lnTo>
                  <a:pt x="280162" y="8000"/>
                </a:lnTo>
                <a:lnTo>
                  <a:pt x="203149" y="17272"/>
                </a:lnTo>
                <a:lnTo>
                  <a:pt x="135750" y="29337"/>
                </a:lnTo>
                <a:lnTo>
                  <a:pt x="79908" y="46609"/>
                </a:lnTo>
                <a:lnTo>
                  <a:pt x="22148" y="72009"/>
                </a:lnTo>
                <a:lnTo>
                  <a:pt x="0" y="102615"/>
                </a:lnTo>
                <a:lnTo>
                  <a:pt x="0" y="702818"/>
                </a:lnTo>
                <a:lnTo>
                  <a:pt x="37553" y="741553"/>
                </a:lnTo>
                <a:lnTo>
                  <a:pt x="79908" y="758825"/>
                </a:lnTo>
                <a:lnTo>
                  <a:pt x="135750" y="770890"/>
                </a:lnTo>
                <a:lnTo>
                  <a:pt x="203149" y="784225"/>
                </a:lnTo>
                <a:lnTo>
                  <a:pt x="365848" y="801497"/>
                </a:lnTo>
                <a:lnTo>
                  <a:pt x="550735" y="801497"/>
                </a:lnTo>
                <a:lnTo>
                  <a:pt x="713422" y="784225"/>
                </a:lnTo>
                <a:lnTo>
                  <a:pt x="781748" y="770890"/>
                </a:lnTo>
                <a:lnTo>
                  <a:pt x="812609" y="766826"/>
                </a:lnTo>
                <a:lnTo>
                  <a:pt x="861631" y="749554"/>
                </a:lnTo>
                <a:lnTo>
                  <a:pt x="907859" y="724154"/>
                </a:lnTo>
                <a:lnTo>
                  <a:pt x="916622" y="702818"/>
                </a:lnTo>
                <a:lnTo>
                  <a:pt x="916622" y="102615"/>
                </a:lnTo>
                <a:lnTo>
                  <a:pt x="861631" y="54610"/>
                </a:lnTo>
                <a:lnTo>
                  <a:pt x="781748" y="29337"/>
                </a:lnTo>
                <a:lnTo>
                  <a:pt x="713422" y="17272"/>
                </a:lnTo>
                <a:lnTo>
                  <a:pt x="636333" y="8000"/>
                </a:lnTo>
                <a:lnTo>
                  <a:pt x="458279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3" name="object 873"/>
          <p:cNvSpPr/>
          <p:nvPr/>
        </p:nvSpPr>
        <p:spPr>
          <a:xfrm>
            <a:off x="823912" y="3306826"/>
            <a:ext cx="916940" cy="802005"/>
          </a:xfrm>
          <a:custGeom>
            <a:avLst/>
            <a:gdLst/>
            <a:ahLst/>
            <a:cxnLst/>
            <a:rect l="l" t="t" r="r" b="b"/>
            <a:pathLst>
              <a:path w="916939" h="802004">
                <a:moveTo>
                  <a:pt x="458279" y="0"/>
                </a:moveTo>
                <a:lnTo>
                  <a:pt x="550735" y="3937"/>
                </a:lnTo>
                <a:lnTo>
                  <a:pt x="636333" y="8000"/>
                </a:lnTo>
                <a:lnTo>
                  <a:pt x="713422" y="17272"/>
                </a:lnTo>
                <a:lnTo>
                  <a:pt x="781748" y="29337"/>
                </a:lnTo>
                <a:lnTo>
                  <a:pt x="812609" y="38608"/>
                </a:lnTo>
                <a:lnTo>
                  <a:pt x="839533" y="46609"/>
                </a:lnTo>
                <a:lnTo>
                  <a:pt x="879919" y="64008"/>
                </a:lnTo>
                <a:lnTo>
                  <a:pt x="913701" y="93345"/>
                </a:lnTo>
                <a:lnTo>
                  <a:pt x="916622" y="102615"/>
                </a:lnTo>
                <a:lnTo>
                  <a:pt x="916622" y="702818"/>
                </a:lnTo>
                <a:lnTo>
                  <a:pt x="879919" y="741553"/>
                </a:lnTo>
                <a:lnTo>
                  <a:pt x="839533" y="758825"/>
                </a:lnTo>
                <a:lnTo>
                  <a:pt x="781748" y="770890"/>
                </a:lnTo>
                <a:lnTo>
                  <a:pt x="713422" y="784225"/>
                </a:lnTo>
                <a:lnTo>
                  <a:pt x="636333" y="792226"/>
                </a:lnTo>
                <a:lnTo>
                  <a:pt x="550735" y="801497"/>
                </a:lnTo>
                <a:lnTo>
                  <a:pt x="458279" y="801497"/>
                </a:lnTo>
                <a:lnTo>
                  <a:pt x="365848" y="801497"/>
                </a:lnTo>
                <a:lnTo>
                  <a:pt x="280162" y="792226"/>
                </a:lnTo>
                <a:lnTo>
                  <a:pt x="203149" y="784225"/>
                </a:lnTo>
                <a:lnTo>
                  <a:pt x="135750" y="770890"/>
                </a:lnTo>
                <a:lnTo>
                  <a:pt x="104940" y="766826"/>
                </a:lnTo>
                <a:lnTo>
                  <a:pt x="79908" y="758825"/>
                </a:lnTo>
                <a:lnTo>
                  <a:pt x="37553" y="741553"/>
                </a:lnTo>
                <a:lnTo>
                  <a:pt x="2882" y="712216"/>
                </a:lnTo>
                <a:lnTo>
                  <a:pt x="0" y="702818"/>
                </a:lnTo>
                <a:lnTo>
                  <a:pt x="0" y="102615"/>
                </a:lnTo>
                <a:lnTo>
                  <a:pt x="37553" y="64008"/>
                </a:lnTo>
                <a:lnTo>
                  <a:pt x="79908" y="46609"/>
                </a:lnTo>
                <a:lnTo>
                  <a:pt x="135750" y="29337"/>
                </a:lnTo>
                <a:lnTo>
                  <a:pt x="203149" y="17272"/>
                </a:lnTo>
                <a:lnTo>
                  <a:pt x="280162" y="8000"/>
                </a:lnTo>
                <a:lnTo>
                  <a:pt x="365848" y="3937"/>
                </a:lnTo>
                <a:lnTo>
                  <a:pt x="458279" y="0"/>
                </a:lnTo>
                <a:close/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4" name="object 874"/>
          <p:cNvSpPr/>
          <p:nvPr/>
        </p:nvSpPr>
        <p:spPr>
          <a:xfrm>
            <a:off x="823912" y="3409441"/>
            <a:ext cx="916940" cy="97790"/>
          </a:xfrm>
          <a:custGeom>
            <a:avLst/>
            <a:gdLst/>
            <a:ahLst/>
            <a:cxnLst/>
            <a:rect l="l" t="t" r="r" b="b"/>
            <a:pathLst>
              <a:path w="916939" h="97789">
                <a:moveTo>
                  <a:pt x="916622" y="0"/>
                </a:moveTo>
                <a:lnTo>
                  <a:pt x="0" y="0"/>
                </a:lnTo>
                <a:lnTo>
                  <a:pt x="2882" y="8000"/>
                </a:lnTo>
                <a:lnTo>
                  <a:pt x="9626" y="21336"/>
                </a:lnTo>
                <a:lnTo>
                  <a:pt x="22148" y="29337"/>
                </a:lnTo>
                <a:lnTo>
                  <a:pt x="55841" y="46736"/>
                </a:lnTo>
                <a:lnTo>
                  <a:pt x="79908" y="54737"/>
                </a:lnTo>
                <a:lnTo>
                  <a:pt x="104940" y="64008"/>
                </a:lnTo>
                <a:lnTo>
                  <a:pt x="135750" y="68072"/>
                </a:lnTo>
                <a:lnTo>
                  <a:pt x="203149" y="80010"/>
                </a:lnTo>
                <a:lnTo>
                  <a:pt x="280162" y="89408"/>
                </a:lnTo>
                <a:lnTo>
                  <a:pt x="365848" y="97409"/>
                </a:lnTo>
                <a:lnTo>
                  <a:pt x="550735" y="97409"/>
                </a:lnTo>
                <a:lnTo>
                  <a:pt x="636333" y="89408"/>
                </a:lnTo>
                <a:lnTo>
                  <a:pt x="713422" y="80010"/>
                </a:lnTo>
                <a:lnTo>
                  <a:pt x="781748" y="68072"/>
                </a:lnTo>
                <a:lnTo>
                  <a:pt x="812609" y="64008"/>
                </a:lnTo>
                <a:lnTo>
                  <a:pt x="861631" y="46736"/>
                </a:lnTo>
                <a:lnTo>
                  <a:pt x="907859" y="21336"/>
                </a:lnTo>
                <a:lnTo>
                  <a:pt x="913701" y="8000"/>
                </a:lnTo>
                <a:lnTo>
                  <a:pt x="916622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5" name="object 875"/>
          <p:cNvSpPr/>
          <p:nvPr/>
        </p:nvSpPr>
        <p:spPr>
          <a:xfrm>
            <a:off x="823912" y="3409441"/>
            <a:ext cx="916940" cy="97790"/>
          </a:xfrm>
          <a:custGeom>
            <a:avLst/>
            <a:gdLst/>
            <a:ahLst/>
            <a:cxnLst/>
            <a:rect l="l" t="t" r="r" b="b"/>
            <a:pathLst>
              <a:path w="916939" h="97789">
                <a:moveTo>
                  <a:pt x="916622" y="0"/>
                </a:moveTo>
                <a:lnTo>
                  <a:pt x="879919" y="37337"/>
                </a:lnTo>
                <a:lnTo>
                  <a:pt x="839533" y="54737"/>
                </a:lnTo>
                <a:lnTo>
                  <a:pt x="781748" y="68072"/>
                </a:lnTo>
                <a:lnTo>
                  <a:pt x="713422" y="80010"/>
                </a:lnTo>
                <a:lnTo>
                  <a:pt x="636333" y="89408"/>
                </a:lnTo>
                <a:lnTo>
                  <a:pt x="550735" y="97409"/>
                </a:lnTo>
                <a:lnTo>
                  <a:pt x="458279" y="97409"/>
                </a:lnTo>
                <a:lnTo>
                  <a:pt x="365848" y="97409"/>
                </a:lnTo>
                <a:lnTo>
                  <a:pt x="280162" y="89408"/>
                </a:lnTo>
                <a:lnTo>
                  <a:pt x="203149" y="80010"/>
                </a:lnTo>
                <a:lnTo>
                  <a:pt x="135750" y="68072"/>
                </a:lnTo>
                <a:lnTo>
                  <a:pt x="104940" y="64008"/>
                </a:lnTo>
                <a:lnTo>
                  <a:pt x="79908" y="54737"/>
                </a:lnTo>
                <a:lnTo>
                  <a:pt x="55841" y="46736"/>
                </a:lnTo>
                <a:lnTo>
                  <a:pt x="37553" y="37337"/>
                </a:lnTo>
                <a:lnTo>
                  <a:pt x="22148" y="29337"/>
                </a:lnTo>
                <a:lnTo>
                  <a:pt x="9626" y="21336"/>
                </a:lnTo>
                <a:lnTo>
                  <a:pt x="2882" y="8000"/>
                </a:lnTo>
                <a:lnTo>
                  <a:pt x="0" y="0"/>
                </a:lnTo>
              </a:path>
            </a:pathLst>
          </a:custGeom>
          <a:ln w="82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6" name="object 876"/>
          <p:cNvSpPr/>
          <p:nvPr/>
        </p:nvSpPr>
        <p:spPr>
          <a:xfrm>
            <a:off x="4584700" y="1530350"/>
            <a:ext cx="3162935" cy="1181735"/>
          </a:xfrm>
          <a:custGeom>
            <a:avLst/>
            <a:gdLst/>
            <a:ahLst/>
            <a:cxnLst/>
            <a:rect l="l" t="t" r="r" b="b"/>
            <a:pathLst>
              <a:path w="3162934" h="1181735">
                <a:moveTo>
                  <a:pt x="3162680" y="0"/>
                </a:moveTo>
                <a:lnTo>
                  <a:pt x="1095375" y="0"/>
                </a:lnTo>
                <a:lnTo>
                  <a:pt x="0" y="590803"/>
                </a:lnTo>
                <a:lnTo>
                  <a:pt x="1095375" y="1181608"/>
                </a:lnTo>
                <a:lnTo>
                  <a:pt x="3162680" y="1181608"/>
                </a:lnTo>
                <a:lnTo>
                  <a:pt x="316268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7" name="object 877"/>
          <p:cNvSpPr/>
          <p:nvPr/>
        </p:nvSpPr>
        <p:spPr>
          <a:xfrm>
            <a:off x="4608829" y="1561591"/>
            <a:ext cx="3163570" cy="1181735"/>
          </a:xfrm>
          <a:custGeom>
            <a:avLst/>
            <a:gdLst/>
            <a:ahLst/>
            <a:cxnLst/>
            <a:rect l="l" t="t" r="r" b="b"/>
            <a:pathLst>
              <a:path w="3163570" h="1181735">
                <a:moveTo>
                  <a:pt x="3163570" y="0"/>
                </a:moveTo>
                <a:lnTo>
                  <a:pt x="1095248" y="0"/>
                </a:lnTo>
                <a:lnTo>
                  <a:pt x="0" y="590804"/>
                </a:lnTo>
                <a:lnTo>
                  <a:pt x="1095248" y="1181608"/>
                </a:lnTo>
                <a:lnTo>
                  <a:pt x="3163570" y="1181608"/>
                </a:lnTo>
                <a:lnTo>
                  <a:pt x="316357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8" name="object 878"/>
          <p:cNvSpPr/>
          <p:nvPr/>
        </p:nvSpPr>
        <p:spPr>
          <a:xfrm>
            <a:off x="4597272" y="1545971"/>
            <a:ext cx="3162935" cy="1181735"/>
          </a:xfrm>
          <a:custGeom>
            <a:avLst/>
            <a:gdLst/>
            <a:ahLst/>
            <a:cxnLst/>
            <a:rect l="l" t="t" r="r" b="b"/>
            <a:pathLst>
              <a:path w="3162934" h="1181735">
                <a:moveTo>
                  <a:pt x="3162554" y="0"/>
                </a:moveTo>
                <a:lnTo>
                  <a:pt x="1095248" y="0"/>
                </a:lnTo>
                <a:lnTo>
                  <a:pt x="0" y="590803"/>
                </a:lnTo>
                <a:lnTo>
                  <a:pt x="1095248" y="1181607"/>
                </a:lnTo>
                <a:lnTo>
                  <a:pt x="3162554" y="1181607"/>
                </a:lnTo>
                <a:lnTo>
                  <a:pt x="3162554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9" name="object 879"/>
          <p:cNvSpPr txBox="1"/>
          <p:nvPr/>
        </p:nvSpPr>
        <p:spPr>
          <a:xfrm>
            <a:off x="5931789" y="4965192"/>
            <a:ext cx="155638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Financial</a:t>
            </a:r>
            <a:r>
              <a:rPr sz="1200" b="1" spc="-14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Accounting  Controll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880" name="object 880"/>
          <p:cNvSpPr txBox="1"/>
          <p:nvPr/>
        </p:nvSpPr>
        <p:spPr>
          <a:xfrm>
            <a:off x="2605151" y="2395473"/>
            <a:ext cx="1612900" cy="527050"/>
          </a:xfrm>
          <a:prstGeom prst="rect">
            <a:avLst/>
          </a:prstGeom>
          <a:solidFill>
            <a:srgbClr val="CCCCFF"/>
          </a:solidFill>
          <a:ln w="8255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534670">
              <a:lnSpc>
                <a:spcPct val="100000"/>
              </a:lnSpc>
              <a:spcBef>
                <a:spcPts val="260"/>
              </a:spcBef>
            </a:pPr>
            <a:r>
              <a:rPr sz="2000" dirty="0">
                <a:latin typeface="Times New Roman"/>
                <a:cs typeface="Times New Roman"/>
              </a:rPr>
              <a:t>Sales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881" name="object 881"/>
          <p:cNvSpPr txBox="1"/>
          <p:nvPr/>
        </p:nvSpPr>
        <p:spPr>
          <a:xfrm>
            <a:off x="5933313" y="1780032"/>
            <a:ext cx="1657350" cy="7429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Materials</a:t>
            </a:r>
            <a:r>
              <a:rPr sz="1200" b="1" spc="-9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anagement  Production Planning  </a:t>
            </a:r>
            <a:r>
              <a:rPr sz="1200" b="1" spc="-5" dirty="0">
                <a:latin typeface="Arial"/>
                <a:cs typeface="Arial"/>
              </a:rPr>
              <a:t>Controlling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Financial</a:t>
            </a:r>
            <a:r>
              <a:rPr sz="1200" b="1" spc="-15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Account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882" name="object 882"/>
          <p:cNvSpPr/>
          <p:nvPr/>
        </p:nvSpPr>
        <p:spPr>
          <a:xfrm>
            <a:off x="5097526" y="18288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6050" y="0"/>
                </a:moveTo>
                <a:lnTo>
                  <a:pt x="0" y="146050"/>
                </a:lnTo>
                <a:lnTo>
                  <a:pt x="146050" y="292100"/>
                </a:lnTo>
                <a:lnTo>
                  <a:pt x="292100" y="146050"/>
                </a:lnTo>
                <a:lnTo>
                  <a:pt x="146050" y="0"/>
                </a:lnTo>
                <a:close/>
              </a:path>
            </a:pathLst>
          </a:custGeom>
          <a:solidFill>
            <a:srgbClr val="ACE4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3" name="object 883"/>
          <p:cNvSpPr/>
          <p:nvPr/>
        </p:nvSpPr>
        <p:spPr>
          <a:xfrm>
            <a:off x="5097526" y="18288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6050" y="0"/>
                </a:lnTo>
                <a:lnTo>
                  <a:pt x="292100" y="146050"/>
                </a:lnTo>
                <a:lnTo>
                  <a:pt x="146050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4" name="object 884"/>
          <p:cNvSpPr/>
          <p:nvPr/>
        </p:nvSpPr>
        <p:spPr>
          <a:xfrm>
            <a:off x="5243576" y="18288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97536" y="0"/>
                </a:moveTo>
                <a:lnTo>
                  <a:pt x="0" y="0"/>
                </a:lnTo>
                <a:lnTo>
                  <a:pt x="146812" y="146050"/>
                </a:lnTo>
                <a:lnTo>
                  <a:pt x="244475" y="146050"/>
                </a:lnTo>
                <a:lnTo>
                  <a:pt x="97536" y="0"/>
                </a:lnTo>
                <a:close/>
              </a:path>
            </a:pathLst>
          </a:custGeom>
          <a:solidFill>
            <a:srgbClr val="C4FF4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5" name="object 885"/>
          <p:cNvSpPr/>
          <p:nvPr/>
        </p:nvSpPr>
        <p:spPr>
          <a:xfrm>
            <a:off x="5243576" y="18288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0"/>
                </a:moveTo>
                <a:lnTo>
                  <a:pt x="97536" y="0"/>
                </a:lnTo>
                <a:lnTo>
                  <a:pt x="244475" y="146050"/>
                </a:lnTo>
                <a:lnTo>
                  <a:pt x="146812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6" name="object 886"/>
          <p:cNvSpPr/>
          <p:nvPr/>
        </p:nvSpPr>
        <p:spPr>
          <a:xfrm>
            <a:off x="5243576" y="19748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244475" y="0"/>
                </a:moveTo>
                <a:lnTo>
                  <a:pt x="146812" y="0"/>
                </a:lnTo>
                <a:lnTo>
                  <a:pt x="0" y="146050"/>
                </a:lnTo>
                <a:lnTo>
                  <a:pt x="97536" y="146050"/>
                </a:lnTo>
                <a:lnTo>
                  <a:pt x="244475" y="0"/>
                </a:lnTo>
                <a:close/>
              </a:path>
            </a:pathLst>
          </a:custGeom>
          <a:solidFill>
            <a:srgbClr val="86B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7" name="object 887"/>
          <p:cNvSpPr/>
          <p:nvPr/>
        </p:nvSpPr>
        <p:spPr>
          <a:xfrm>
            <a:off x="5243576" y="19748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146050"/>
                </a:moveTo>
                <a:lnTo>
                  <a:pt x="97536" y="146050"/>
                </a:lnTo>
                <a:lnTo>
                  <a:pt x="244475" y="0"/>
                </a:lnTo>
                <a:lnTo>
                  <a:pt x="146812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8" name="object 888"/>
          <p:cNvSpPr txBox="1"/>
          <p:nvPr/>
        </p:nvSpPr>
        <p:spPr>
          <a:xfrm>
            <a:off x="5116829" y="1946909"/>
            <a:ext cx="150495" cy="134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dirty="0">
                <a:latin typeface="Times New Roman"/>
                <a:cs typeface="Times New Roman"/>
              </a:rPr>
              <a:t>PP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889" name="object 889"/>
          <p:cNvSpPr/>
          <p:nvPr/>
        </p:nvSpPr>
        <p:spPr>
          <a:xfrm>
            <a:off x="4648200" y="18415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6050" y="0"/>
                </a:moveTo>
                <a:lnTo>
                  <a:pt x="0" y="146050"/>
                </a:lnTo>
                <a:lnTo>
                  <a:pt x="146050" y="292100"/>
                </a:lnTo>
                <a:lnTo>
                  <a:pt x="292100" y="146050"/>
                </a:lnTo>
                <a:lnTo>
                  <a:pt x="146050" y="0"/>
                </a:lnTo>
                <a:close/>
              </a:path>
            </a:pathLst>
          </a:custGeom>
          <a:solidFill>
            <a:srgbClr val="ACE4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0" name="object 890"/>
          <p:cNvSpPr/>
          <p:nvPr/>
        </p:nvSpPr>
        <p:spPr>
          <a:xfrm>
            <a:off x="4648200" y="18415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6050" y="0"/>
                </a:lnTo>
                <a:lnTo>
                  <a:pt x="292100" y="146050"/>
                </a:lnTo>
                <a:lnTo>
                  <a:pt x="146050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1" name="object 891"/>
          <p:cNvSpPr/>
          <p:nvPr/>
        </p:nvSpPr>
        <p:spPr>
          <a:xfrm>
            <a:off x="4794250" y="18415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97662" y="0"/>
                </a:moveTo>
                <a:lnTo>
                  <a:pt x="0" y="0"/>
                </a:lnTo>
                <a:lnTo>
                  <a:pt x="146812" y="146050"/>
                </a:lnTo>
                <a:lnTo>
                  <a:pt x="244475" y="146050"/>
                </a:lnTo>
                <a:lnTo>
                  <a:pt x="97662" y="0"/>
                </a:lnTo>
                <a:close/>
              </a:path>
            </a:pathLst>
          </a:custGeom>
          <a:solidFill>
            <a:srgbClr val="C4FF4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2" name="object 892"/>
          <p:cNvSpPr/>
          <p:nvPr/>
        </p:nvSpPr>
        <p:spPr>
          <a:xfrm>
            <a:off x="4794250" y="18415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0"/>
                </a:moveTo>
                <a:lnTo>
                  <a:pt x="97662" y="0"/>
                </a:lnTo>
                <a:lnTo>
                  <a:pt x="244475" y="146050"/>
                </a:lnTo>
                <a:lnTo>
                  <a:pt x="146812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3" name="object 893"/>
          <p:cNvSpPr/>
          <p:nvPr/>
        </p:nvSpPr>
        <p:spPr>
          <a:xfrm>
            <a:off x="4794250" y="19875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244475" y="0"/>
                </a:moveTo>
                <a:lnTo>
                  <a:pt x="146812" y="0"/>
                </a:lnTo>
                <a:lnTo>
                  <a:pt x="0" y="146050"/>
                </a:lnTo>
                <a:lnTo>
                  <a:pt x="97662" y="146050"/>
                </a:lnTo>
                <a:lnTo>
                  <a:pt x="244475" y="0"/>
                </a:lnTo>
                <a:close/>
              </a:path>
            </a:pathLst>
          </a:custGeom>
          <a:solidFill>
            <a:srgbClr val="86B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4" name="object 894"/>
          <p:cNvSpPr/>
          <p:nvPr/>
        </p:nvSpPr>
        <p:spPr>
          <a:xfrm>
            <a:off x="4794250" y="19875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146050"/>
                </a:moveTo>
                <a:lnTo>
                  <a:pt x="97662" y="146050"/>
                </a:lnTo>
                <a:lnTo>
                  <a:pt x="244475" y="0"/>
                </a:lnTo>
                <a:lnTo>
                  <a:pt x="146812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5" name="object 895"/>
          <p:cNvSpPr txBox="1"/>
          <p:nvPr/>
        </p:nvSpPr>
        <p:spPr>
          <a:xfrm>
            <a:off x="4651375" y="1946909"/>
            <a:ext cx="217804" cy="134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spc="-5" dirty="0">
                <a:latin typeface="Times New Roman"/>
                <a:cs typeface="Times New Roman"/>
              </a:rPr>
              <a:t>MM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896" name="object 896"/>
          <p:cNvSpPr/>
          <p:nvPr/>
        </p:nvSpPr>
        <p:spPr>
          <a:xfrm>
            <a:off x="5099050" y="48133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5923" y="0"/>
                </a:moveTo>
                <a:lnTo>
                  <a:pt x="0" y="146050"/>
                </a:lnTo>
                <a:lnTo>
                  <a:pt x="145923" y="292100"/>
                </a:lnTo>
                <a:lnTo>
                  <a:pt x="291846" y="146050"/>
                </a:lnTo>
                <a:lnTo>
                  <a:pt x="1459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7" name="object 897"/>
          <p:cNvSpPr/>
          <p:nvPr/>
        </p:nvSpPr>
        <p:spPr>
          <a:xfrm>
            <a:off x="5099050" y="48133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5923" y="0"/>
                </a:lnTo>
                <a:lnTo>
                  <a:pt x="291846" y="146050"/>
                </a:lnTo>
                <a:lnTo>
                  <a:pt x="145923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8" name="object 898"/>
          <p:cNvSpPr/>
          <p:nvPr/>
        </p:nvSpPr>
        <p:spPr>
          <a:xfrm>
            <a:off x="5244972" y="48133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97027" y="0"/>
                </a:moveTo>
                <a:lnTo>
                  <a:pt x="0" y="0"/>
                </a:lnTo>
                <a:lnTo>
                  <a:pt x="145923" y="146050"/>
                </a:lnTo>
                <a:lnTo>
                  <a:pt x="243077" y="146050"/>
                </a:lnTo>
                <a:lnTo>
                  <a:pt x="97027" y="0"/>
                </a:lnTo>
                <a:close/>
              </a:path>
            </a:pathLst>
          </a:custGeom>
          <a:solidFill>
            <a:srgbClr val="FF4B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9" name="object 899"/>
          <p:cNvSpPr/>
          <p:nvPr/>
        </p:nvSpPr>
        <p:spPr>
          <a:xfrm>
            <a:off x="5244972" y="48133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0"/>
                </a:moveTo>
                <a:lnTo>
                  <a:pt x="97027" y="0"/>
                </a:lnTo>
                <a:lnTo>
                  <a:pt x="243077" y="146050"/>
                </a:lnTo>
                <a:lnTo>
                  <a:pt x="145923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0" name="object 900"/>
          <p:cNvSpPr/>
          <p:nvPr/>
        </p:nvSpPr>
        <p:spPr>
          <a:xfrm>
            <a:off x="5244972" y="49593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243077" y="0"/>
                </a:moveTo>
                <a:lnTo>
                  <a:pt x="145923" y="0"/>
                </a:lnTo>
                <a:lnTo>
                  <a:pt x="0" y="146050"/>
                </a:lnTo>
                <a:lnTo>
                  <a:pt x="97027" y="146050"/>
                </a:lnTo>
                <a:lnTo>
                  <a:pt x="243077" y="0"/>
                </a:lnTo>
                <a:close/>
              </a:path>
            </a:pathLst>
          </a:custGeom>
          <a:solidFill>
            <a:srgbClr val="B1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1" name="object 901"/>
          <p:cNvSpPr/>
          <p:nvPr/>
        </p:nvSpPr>
        <p:spPr>
          <a:xfrm>
            <a:off x="5244972" y="49593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146050"/>
                </a:moveTo>
                <a:lnTo>
                  <a:pt x="97027" y="146050"/>
                </a:lnTo>
                <a:lnTo>
                  <a:pt x="243077" y="0"/>
                </a:lnTo>
                <a:lnTo>
                  <a:pt x="145923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2" name="object 902"/>
          <p:cNvSpPr txBox="1"/>
          <p:nvPr/>
        </p:nvSpPr>
        <p:spPr>
          <a:xfrm>
            <a:off x="5190490" y="4899279"/>
            <a:ext cx="116839" cy="133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dirty="0">
                <a:latin typeface="Arial"/>
                <a:cs typeface="Arial"/>
              </a:rPr>
              <a:t>FI</a:t>
            </a:r>
            <a:endParaRPr sz="800">
              <a:latin typeface="Arial"/>
              <a:cs typeface="Arial"/>
            </a:endParaRPr>
          </a:p>
        </p:txBody>
      </p:sp>
      <p:sp>
        <p:nvSpPr>
          <p:cNvPr id="903" name="object 903"/>
          <p:cNvSpPr/>
          <p:nvPr/>
        </p:nvSpPr>
        <p:spPr>
          <a:xfrm>
            <a:off x="5030851" y="22098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5923" y="0"/>
                </a:moveTo>
                <a:lnTo>
                  <a:pt x="0" y="146050"/>
                </a:lnTo>
                <a:lnTo>
                  <a:pt x="145923" y="292100"/>
                </a:lnTo>
                <a:lnTo>
                  <a:pt x="291846" y="146050"/>
                </a:lnTo>
                <a:lnTo>
                  <a:pt x="1459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4" name="object 904"/>
          <p:cNvSpPr/>
          <p:nvPr/>
        </p:nvSpPr>
        <p:spPr>
          <a:xfrm>
            <a:off x="5030851" y="22098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5923" y="0"/>
                </a:lnTo>
                <a:lnTo>
                  <a:pt x="291846" y="146050"/>
                </a:lnTo>
                <a:lnTo>
                  <a:pt x="145923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5" name="object 905"/>
          <p:cNvSpPr/>
          <p:nvPr/>
        </p:nvSpPr>
        <p:spPr>
          <a:xfrm>
            <a:off x="5176773" y="22098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97027" y="0"/>
                </a:moveTo>
                <a:lnTo>
                  <a:pt x="0" y="0"/>
                </a:lnTo>
                <a:lnTo>
                  <a:pt x="145923" y="146050"/>
                </a:lnTo>
                <a:lnTo>
                  <a:pt x="242950" y="146050"/>
                </a:lnTo>
                <a:lnTo>
                  <a:pt x="97027" y="0"/>
                </a:lnTo>
                <a:close/>
              </a:path>
            </a:pathLst>
          </a:custGeom>
          <a:solidFill>
            <a:srgbClr val="FF4B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6" name="object 906"/>
          <p:cNvSpPr/>
          <p:nvPr/>
        </p:nvSpPr>
        <p:spPr>
          <a:xfrm>
            <a:off x="5176773" y="22098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0"/>
                </a:moveTo>
                <a:lnTo>
                  <a:pt x="97027" y="0"/>
                </a:lnTo>
                <a:lnTo>
                  <a:pt x="242950" y="146050"/>
                </a:lnTo>
                <a:lnTo>
                  <a:pt x="145923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7" name="object 907"/>
          <p:cNvSpPr/>
          <p:nvPr/>
        </p:nvSpPr>
        <p:spPr>
          <a:xfrm>
            <a:off x="5176773" y="23558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242950" y="0"/>
                </a:moveTo>
                <a:lnTo>
                  <a:pt x="145923" y="0"/>
                </a:lnTo>
                <a:lnTo>
                  <a:pt x="0" y="146050"/>
                </a:lnTo>
                <a:lnTo>
                  <a:pt x="97027" y="146050"/>
                </a:lnTo>
                <a:lnTo>
                  <a:pt x="242950" y="0"/>
                </a:lnTo>
                <a:close/>
              </a:path>
            </a:pathLst>
          </a:custGeom>
          <a:solidFill>
            <a:srgbClr val="B1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8" name="object 908"/>
          <p:cNvSpPr/>
          <p:nvPr/>
        </p:nvSpPr>
        <p:spPr>
          <a:xfrm>
            <a:off x="5176773" y="23558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146050"/>
                </a:moveTo>
                <a:lnTo>
                  <a:pt x="97027" y="146050"/>
                </a:lnTo>
                <a:lnTo>
                  <a:pt x="242950" y="0"/>
                </a:lnTo>
                <a:lnTo>
                  <a:pt x="145923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9" name="object 909"/>
          <p:cNvSpPr txBox="1"/>
          <p:nvPr/>
        </p:nvSpPr>
        <p:spPr>
          <a:xfrm>
            <a:off x="5122290" y="2295016"/>
            <a:ext cx="177800" cy="133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spc="-5" dirty="0">
                <a:latin typeface="Arial"/>
                <a:cs typeface="Arial"/>
              </a:rPr>
              <a:t>CO</a:t>
            </a:r>
            <a:endParaRPr sz="800">
              <a:latin typeface="Arial"/>
              <a:cs typeface="Arial"/>
            </a:endParaRPr>
          </a:p>
        </p:txBody>
      </p:sp>
      <p:sp>
        <p:nvSpPr>
          <p:cNvPr id="910" name="object 910"/>
          <p:cNvSpPr/>
          <p:nvPr/>
        </p:nvSpPr>
        <p:spPr>
          <a:xfrm>
            <a:off x="4649851" y="22225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5923" y="0"/>
                </a:moveTo>
                <a:lnTo>
                  <a:pt x="0" y="146050"/>
                </a:lnTo>
                <a:lnTo>
                  <a:pt x="145923" y="292100"/>
                </a:lnTo>
                <a:lnTo>
                  <a:pt x="291846" y="146050"/>
                </a:lnTo>
                <a:lnTo>
                  <a:pt x="1459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1" name="object 911"/>
          <p:cNvSpPr/>
          <p:nvPr/>
        </p:nvSpPr>
        <p:spPr>
          <a:xfrm>
            <a:off x="4649851" y="22225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5923" y="0"/>
                </a:lnTo>
                <a:lnTo>
                  <a:pt x="291846" y="146050"/>
                </a:lnTo>
                <a:lnTo>
                  <a:pt x="145923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2" name="object 912"/>
          <p:cNvSpPr/>
          <p:nvPr/>
        </p:nvSpPr>
        <p:spPr>
          <a:xfrm>
            <a:off x="4795773" y="22225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97027" y="0"/>
                </a:moveTo>
                <a:lnTo>
                  <a:pt x="0" y="0"/>
                </a:lnTo>
                <a:lnTo>
                  <a:pt x="145923" y="146050"/>
                </a:lnTo>
                <a:lnTo>
                  <a:pt x="242950" y="146050"/>
                </a:lnTo>
                <a:lnTo>
                  <a:pt x="97027" y="0"/>
                </a:lnTo>
                <a:close/>
              </a:path>
            </a:pathLst>
          </a:custGeom>
          <a:solidFill>
            <a:srgbClr val="FF4B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3" name="object 913"/>
          <p:cNvSpPr/>
          <p:nvPr/>
        </p:nvSpPr>
        <p:spPr>
          <a:xfrm>
            <a:off x="4795773" y="22225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0"/>
                </a:moveTo>
                <a:lnTo>
                  <a:pt x="97027" y="0"/>
                </a:lnTo>
                <a:lnTo>
                  <a:pt x="242950" y="146050"/>
                </a:lnTo>
                <a:lnTo>
                  <a:pt x="145923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4" name="object 914"/>
          <p:cNvSpPr/>
          <p:nvPr/>
        </p:nvSpPr>
        <p:spPr>
          <a:xfrm>
            <a:off x="4795773" y="23685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242950" y="0"/>
                </a:moveTo>
                <a:lnTo>
                  <a:pt x="145923" y="0"/>
                </a:lnTo>
                <a:lnTo>
                  <a:pt x="0" y="146050"/>
                </a:lnTo>
                <a:lnTo>
                  <a:pt x="97027" y="146050"/>
                </a:lnTo>
                <a:lnTo>
                  <a:pt x="242950" y="0"/>
                </a:lnTo>
                <a:close/>
              </a:path>
            </a:pathLst>
          </a:custGeom>
          <a:solidFill>
            <a:srgbClr val="B1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5" name="object 915"/>
          <p:cNvSpPr/>
          <p:nvPr/>
        </p:nvSpPr>
        <p:spPr>
          <a:xfrm>
            <a:off x="4795773" y="23685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146050"/>
                </a:moveTo>
                <a:lnTo>
                  <a:pt x="97027" y="146050"/>
                </a:lnTo>
                <a:lnTo>
                  <a:pt x="242950" y="0"/>
                </a:lnTo>
                <a:lnTo>
                  <a:pt x="145923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6" name="object 916"/>
          <p:cNvSpPr txBox="1"/>
          <p:nvPr/>
        </p:nvSpPr>
        <p:spPr>
          <a:xfrm>
            <a:off x="4741290" y="2307844"/>
            <a:ext cx="116839" cy="133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dirty="0">
                <a:latin typeface="Arial"/>
                <a:cs typeface="Arial"/>
              </a:rPr>
              <a:t>FI</a:t>
            </a:r>
            <a:endParaRPr sz="800">
              <a:latin typeface="Arial"/>
              <a:cs typeface="Arial"/>
            </a:endParaRPr>
          </a:p>
        </p:txBody>
      </p:sp>
      <p:sp>
        <p:nvSpPr>
          <p:cNvPr id="917" name="object 917"/>
          <p:cNvSpPr/>
          <p:nvPr/>
        </p:nvSpPr>
        <p:spPr>
          <a:xfrm>
            <a:off x="5099050" y="51943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5923" y="0"/>
                </a:moveTo>
                <a:lnTo>
                  <a:pt x="0" y="146050"/>
                </a:lnTo>
                <a:lnTo>
                  <a:pt x="145923" y="292100"/>
                </a:lnTo>
                <a:lnTo>
                  <a:pt x="291846" y="146050"/>
                </a:lnTo>
                <a:lnTo>
                  <a:pt x="1459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8" name="object 918"/>
          <p:cNvSpPr/>
          <p:nvPr/>
        </p:nvSpPr>
        <p:spPr>
          <a:xfrm>
            <a:off x="5099050" y="51943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5923" y="0"/>
                </a:lnTo>
                <a:lnTo>
                  <a:pt x="291846" y="146050"/>
                </a:lnTo>
                <a:lnTo>
                  <a:pt x="145923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9" name="object 919"/>
          <p:cNvSpPr/>
          <p:nvPr/>
        </p:nvSpPr>
        <p:spPr>
          <a:xfrm>
            <a:off x="5244972" y="51943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97027" y="0"/>
                </a:moveTo>
                <a:lnTo>
                  <a:pt x="0" y="0"/>
                </a:lnTo>
                <a:lnTo>
                  <a:pt x="145923" y="146050"/>
                </a:lnTo>
                <a:lnTo>
                  <a:pt x="243077" y="146050"/>
                </a:lnTo>
                <a:lnTo>
                  <a:pt x="97027" y="0"/>
                </a:lnTo>
                <a:close/>
              </a:path>
            </a:pathLst>
          </a:custGeom>
          <a:solidFill>
            <a:srgbClr val="FF4B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0" name="object 920"/>
          <p:cNvSpPr/>
          <p:nvPr/>
        </p:nvSpPr>
        <p:spPr>
          <a:xfrm>
            <a:off x="5244972" y="51943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0"/>
                </a:moveTo>
                <a:lnTo>
                  <a:pt x="97027" y="0"/>
                </a:lnTo>
                <a:lnTo>
                  <a:pt x="243077" y="146050"/>
                </a:lnTo>
                <a:lnTo>
                  <a:pt x="145923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1" name="object 921"/>
          <p:cNvSpPr/>
          <p:nvPr/>
        </p:nvSpPr>
        <p:spPr>
          <a:xfrm>
            <a:off x="5244972" y="53403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243077" y="0"/>
                </a:moveTo>
                <a:lnTo>
                  <a:pt x="145923" y="0"/>
                </a:lnTo>
                <a:lnTo>
                  <a:pt x="0" y="146050"/>
                </a:lnTo>
                <a:lnTo>
                  <a:pt x="97027" y="146050"/>
                </a:lnTo>
                <a:lnTo>
                  <a:pt x="243077" y="0"/>
                </a:lnTo>
                <a:close/>
              </a:path>
            </a:pathLst>
          </a:custGeom>
          <a:solidFill>
            <a:srgbClr val="B1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2" name="object 922"/>
          <p:cNvSpPr/>
          <p:nvPr/>
        </p:nvSpPr>
        <p:spPr>
          <a:xfrm>
            <a:off x="5244972" y="53403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146050"/>
                </a:moveTo>
                <a:lnTo>
                  <a:pt x="97027" y="146050"/>
                </a:lnTo>
                <a:lnTo>
                  <a:pt x="243077" y="0"/>
                </a:lnTo>
                <a:lnTo>
                  <a:pt x="145923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3" name="object 923"/>
          <p:cNvSpPr txBox="1"/>
          <p:nvPr/>
        </p:nvSpPr>
        <p:spPr>
          <a:xfrm>
            <a:off x="5190490" y="5280278"/>
            <a:ext cx="177800" cy="133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spc="-5" dirty="0">
                <a:latin typeface="Arial"/>
                <a:cs typeface="Arial"/>
              </a:rPr>
              <a:t>CO</a:t>
            </a:r>
            <a:endParaRPr sz="800">
              <a:latin typeface="Arial"/>
              <a:cs typeface="Arial"/>
            </a:endParaRPr>
          </a:p>
        </p:txBody>
      </p:sp>
      <p:sp>
        <p:nvSpPr>
          <p:cNvPr id="924" name="object 924"/>
          <p:cNvSpPr/>
          <p:nvPr/>
        </p:nvSpPr>
        <p:spPr>
          <a:xfrm>
            <a:off x="5097526" y="34417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6050" y="0"/>
                </a:moveTo>
                <a:lnTo>
                  <a:pt x="0" y="146050"/>
                </a:lnTo>
                <a:lnTo>
                  <a:pt x="146050" y="292100"/>
                </a:lnTo>
                <a:lnTo>
                  <a:pt x="292100" y="146050"/>
                </a:lnTo>
                <a:lnTo>
                  <a:pt x="146050" y="0"/>
                </a:lnTo>
                <a:close/>
              </a:path>
            </a:pathLst>
          </a:custGeom>
          <a:solidFill>
            <a:srgbClr val="ACE4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5" name="object 925"/>
          <p:cNvSpPr/>
          <p:nvPr/>
        </p:nvSpPr>
        <p:spPr>
          <a:xfrm>
            <a:off x="5097526" y="34417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6050" y="0"/>
                </a:lnTo>
                <a:lnTo>
                  <a:pt x="292100" y="146050"/>
                </a:lnTo>
                <a:lnTo>
                  <a:pt x="146050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6" name="object 926"/>
          <p:cNvSpPr/>
          <p:nvPr/>
        </p:nvSpPr>
        <p:spPr>
          <a:xfrm>
            <a:off x="5243576" y="34417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97536" y="0"/>
                </a:moveTo>
                <a:lnTo>
                  <a:pt x="0" y="0"/>
                </a:lnTo>
                <a:lnTo>
                  <a:pt x="146812" y="146050"/>
                </a:lnTo>
                <a:lnTo>
                  <a:pt x="244475" y="146050"/>
                </a:lnTo>
                <a:lnTo>
                  <a:pt x="97536" y="0"/>
                </a:lnTo>
                <a:close/>
              </a:path>
            </a:pathLst>
          </a:custGeom>
          <a:solidFill>
            <a:srgbClr val="C4FF4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7" name="object 927"/>
          <p:cNvSpPr/>
          <p:nvPr/>
        </p:nvSpPr>
        <p:spPr>
          <a:xfrm>
            <a:off x="5243576" y="344170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0"/>
                </a:moveTo>
                <a:lnTo>
                  <a:pt x="97536" y="0"/>
                </a:lnTo>
                <a:lnTo>
                  <a:pt x="244475" y="146050"/>
                </a:lnTo>
                <a:lnTo>
                  <a:pt x="146812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8" name="object 928"/>
          <p:cNvSpPr/>
          <p:nvPr/>
        </p:nvSpPr>
        <p:spPr>
          <a:xfrm>
            <a:off x="5243576" y="35877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244475" y="0"/>
                </a:moveTo>
                <a:lnTo>
                  <a:pt x="146812" y="0"/>
                </a:lnTo>
                <a:lnTo>
                  <a:pt x="0" y="146050"/>
                </a:lnTo>
                <a:lnTo>
                  <a:pt x="97536" y="146050"/>
                </a:lnTo>
                <a:lnTo>
                  <a:pt x="244475" y="0"/>
                </a:lnTo>
                <a:close/>
              </a:path>
            </a:pathLst>
          </a:custGeom>
          <a:solidFill>
            <a:srgbClr val="86B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9" name="object 929"/>
          <p:cNvSpPr/>
          <p:nvPr/>
        </p:nvSpPr>
        <p:spPr>
          <a:xfrm>
            <a:off x="5243576" y="3587750"/>
            <a:ext cx="244475" cy="146050"/>
          </a:xfrm>
          <a:custGeom>
            <a:avLst/>
            <a:gdLst/>
            <a:ahLst/>
            <a:cxnLst/>
            <a:rect l="l" t="t" r="r" b="b"/>
            <a:pathLst>
              <a:path w="244475" h="146050">
                <a:moveTo>
                  <a:pt x="0" y="146050"/>
                </a:moveTo>
                <a:lnTo>
                  <a:pt x="97536" y="146050"/>
                </a:lnTo>
                <a:lnTo>
                  <a:pt x="244475" y="0"/>
                </a:lnTo>
                <a:lnTo>
                  <a:pt x="146812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0" name="object 930"/>
          <p:cNvSpPr txBox="1"/>
          <p:nvPr/>
        </p:nvSpPr>
        <p:spPr>
          <a:xfrm>
            <a:off x="5193029" y="3485641"/>
            <a:ext cx="217804" cy="134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spc="-5" dirty="0">
                <a:latin typeface="Times New Roman"/>
                <a:cs typeface="Times New Roman"/>
              </a:rPr>
              <a:t>MM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931" name="object 931"/>
          <p:cNvSpPr/>
          <p:nvPr/>
        </p:nvSpPr>
        <p:spPr>
          <a:xfrm>
            <a:off x="5099050" y="38862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145923" y="0"/>
                </a:moveTo>
                <a:lnTo>
                  <a:pt x="0" y="146050"/>
                </a:lnTo>
                <a:lnTo>
                  <a:pt x="145923" y="292100"/>
                </a:lnTo>
                <a:lnTo>
                  <a:pt x="291846" y="146050"/>
                </a:lnTo>
                <a:lnTo>
                  <a:pt x="1459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2" name="object 932"/>
          <p:cNvSpPr/>
          <p:nvPr/>
        </p:nvSpPr>
        <p:spPr>
          <a:xfrm>
            <a:off x="5099050" y="3886200"/>
            <a:ext cx="292100" cy="292100"/>
          </a:xfrm>
          <a:custGeom>
            <a:avLst/>
            <a:gdLst/>
            <a:ahLst/>
            <a:cxnLst/>
            <a:rect l="l" t="t" r="r" b="b"/>
            <a:pathLst>
              <a:path w="292100" h="292100">
                <a:moveTo>
                  <a:pt x="0" y="146050"/>
                </a:moveTo>
                <a:lnTo>
                  <a:pt x="145923" y="0"/>
                </a:lnTo>
                <a:lnTo>
                  <a:pt x="291846" y="146050"/>
                </a:lnTo>
                <a:lnTo>
                  <a:pt x="145923" y="29210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3" name="object 933"/>
          <p:cNvSpPr/>
          <p:nvPr/>
        </p:nvSpPr>
        <p:spPr>
          <a:xfrm>
            <a:off x="5244972" y="38862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97027" y="0"/>
                </a:moveTo>
                <a:lnTo>
                  <a:pt x="0" y="0"/>
                </a:lnTo>
                <a:lnTo>
                  <a:pt x="145923" y="146050"/>
                </a:lnTo>
                <a:lnTo>
                  <a:pt x="243077" y="146050"/>
                </a:lnTo>
                <a:lnTo>
                  <a:pt x="97027" y="0"/>
                </a:lnTo>
                <a:close/>
              </a:path>
            </a:pathLst>
          </a:custGeom>
          <a:solidFill>
            <a:srgbClr val="FF4B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4" name="object 934"/>
          <p:cNvSpPr/>
          <p:nvPr/>
        </p:nvSpPr>
        <p:spPr>
          <a:xfrm>
            <a:off x="5244972" y="388620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0"/>
                </a:moveTo>
                <a:lnTo>
                  <a:pt x="97027" y="0"/>
                </a:lnTo>
                <a:lnTo>
                  <a:pt x="243077" y="146050"/>
                </a:lnTo>
                <a:lnTo>
                  <a:pt x="145923" y="146050"/>
                </a:lnTo>
                <a:lnTo>
                  <a:pt x="0" y="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5" name="object 935"/>
          <p:cNvSpPr/>
          <p:nvPr/>
        </p:nvSpPr>
        <p:spPr>
          <a:xfrm>
            <a:off x="5244972" y="40322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243077" y="0"/>
                </a:moveTo>
                <a:lnTo>
                  <a:pt x="145923" y="0"/>
                </a:lnTo>
                <a:lnTo>
                  <a:pt x="0" y="146050"/>
                </a:lnTo>
                <a:lnTo>
                  <a:pt x="97027" y="146050"/>
                </a:lnTo>
                <a:lnTo>
                  <a:pt x="243077" y="0"/>
                </a:lnTo>
                <a:close/>
              </a:path>
            </a:pathLst>
          </a:custGeom>
          <a:solidFill>
            <a:srgbClr val="B1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6" name="object 936"/>
          <p:cNvSpPr/>
          <p:nvPr/>
        </p:nvSpPr>
        <p:spPr>
          <a:xfrm>
            <a:off x="5244972" y="4032250"/>
            <a:ext cx="243204" cy="146050"/>
          </a:xfrm>
          <a:custGeom>
            <a:avLst/>
            <a:gdLst/>
            <a:ahLst/>
            <a:cxnLst/>
            <a:rect l="l" t="t" r="r" b="b"/>
            <a:pathLst>
              <a:path w="243204" h="146050">
                <a:moveTo>
                  <a:pt x="0" y="146050"/>
                </a:moveTo>
                <a:lnTo>
                  <a:pt x="97027" y="146050"/>
                </a:lnTo>
                <a:lnTo>
                  <a:pt x="243077" y="0"/>
                </a:lnTo>
                <a:lnTo>
                  <a:pt x="145923" y="0"/>
                </a:lnTo>
                <a:lnTo>
                  <a:pt x="0" y="146050"/>
                </a:lnTo>
              </a:path>
            </a:pathLst>
          </a:custGeom>
          <a:ln w="8255">
            <a:solidFill>
              <a:srgbClr val="91919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7" name="object 937"/>
          <p:cNvSpPr txBox="1"/>
          <p:nvPr/>
        </p:nvSpPr>
        <p:spPr>
          <a:xfrm>
            <a:off x="5190490" y="3971797"/>
            <a:ext cx="116839" cy="133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dirty="0">
                <a:latin typeface="Arial"/>
                <a:cs typeface="Arial"/>
              </a:rPr>
              <a:t>FI</a:t>
            </a:r>
            <a:endParaRPr sz="800">
              <a:latin typeface="Arial"/>
              <a:cs typeface="Arial"/>
            </a:endParaRPr>
          </a:p>
        </p:txBody>
      </p:sp>
      <p:sp>
        <p:nvSpPr>
          <p:cNvPr id="938" name="object 938"/>
          <p:cNvSpPr txBox="1"/>
          <p:nvPr/>
        </p:nvSpPr>
        <p:spPr>
          <a:xfrm>
            <a:off x="842568" y="3623182"/>
            <a:ext cx="88582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Master</a:t>
            </a:r>
            <a:r>
              <a:rPr sz="1200" b="1" spc="-9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Data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96900" y="1136141"/>
            <a:ext cx="7259320" cy="1908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ts val="1540"/>
              </a:lnSpc>
              <a:buFont typeface="Arial"/>
              <a:buChar char="•"/>
              <a:tabLst>
                <a:tab pos="139700" algn="l"/>
              </a:tabLst>
            </a:pPr>
            <a:r>
              <a:rPr sz="1600" b="1" spc="-5" dirty="0">
                <a:latin typeface="Arial"/>
                <a:cs typeface="Arial"/>
              </a:rPr>
              <a:t>Billing data in </a:t>
            </a:r>
            <a:r>
              <a:rPr sz="1600" b="1" spc="-10" dirty="0">
                <a:latin typeface="Arial"/>
                <a:cs typeface="Arial"/>
              </a:rPr>
              <a:t>invoices, </a:t>
            </a:r>
            <a:r>
              <a:rPr sz="1600" b="1" spc="-5" dirty="0">
                <a:latin typeface="Arial"/>
                <a:cs typeface="Arial"/>
              </a:rPr>
              <a:t>credit and debit memos is </a:t>
            </a:r>
            <a:r>
              <a:rPr sz="1600" b="1" dirty="0">
                <a:latin typeface="Arial"/>
                <a:cs typeface="Arial"/>
              </a:rPr>
              <a:t>forwarded </a:t>
            </a:r>
            <a:r>
              <a:rPr sz="1600" b="1" spc="-5" dirty="0">
                <a:latin typeface="Arial"/>
                <a:cs typeface="Arial"/>
              </a:rPr>
              <a:t>to Financial  </a:t>
            </a:r>
            <a:r>
              <a:rPr sz="1600" b="1" spc="-10" dirty="0">
                <a:latin typeface="Arial"/>
                <a:cs typeface="Arial"/>
              </a:rPr>
              <a:t>Accounting. </a:t>
            </a:r>
            <a:r>
              <a:rPr sz="1600" b="1" spc="-5" dirty="0">
                <a:latin typeface="Arial"/>
                <a:cs typeface="Arial"/>
              </a:rPr>
              <a:t>When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reate a billing </a:t>
            </a:r>
            <a:r>
              <a:rPr sz="1600" b="1" spc="-10" dirty="0">
                <a:latin typeface="Arial"/>
                <a:cs typeface="Arial"/>
              </a:rPr>
              <a:t>document, the system </a:t>
            </a:r>
            <a:r>
              <a:rPr sz="1600" b="1" spc="-5" dirty="0">
                <a:latin typeface="Arial"/>
                <a:cs typeface="Arial"/>
              </a:rPr>
              <a:t>automatically  creates all </a:t>
            </a:r>
            <a:r>
              <a:rPr sz="1600" b="1" spc="-10" dirty="0">
                <a:latin typeface="Arial"/>
                <a:cs typeface="Arial"/>
              </a:rPr>
              <a:t>relevant </a:t>
            </a:r>
            <a:r>
              <a:rPr sz="1600" b="1" spc="-5" dirty="0">
                <a:latin typeface="Arial"/>
                <a:cs typeface="Arial"/>
              </a:rPr>
              <a:t>accounting </a:t>
            </a:r>
            <a:r>
              <a:rPr sz="1600" b="1" spc="-10" dirty="0">
                <a:latin typeface="Arial"/>
                <a:cs typeface="Arial"/>
              </a:rPr>
              <a:t>documents</a:t>
            </a:r>
            <a:r>
              <a:rPr sz="1600" b="1" spc="15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for:</a:t>
            </a:r>
            <a:endParaRPr sz="16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5"/>
              </a:spcBef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400" b="1" dirty="0">
                <a:latin typeface="Arial"/>
                <a:cs typeface="Arial"/>
              </a:rPr>
              <a:t>General</a:t>
            </a:r>
            <a:r>
              <a:rPr sz="1400" b="1" spc="-12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Ledger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400" b="1" spc="-5" dirty="0">
                <a:latin typeface="Arial"/>
                <a:cs typeface="Arial"/>
              </a:rPr>
              <a:t>Controlling and Profitability </a:t>
            </a:r>
            <a:r>
              <a:rPr sz="1400" b="1" spc="-10" dirty="0">
                <a:latin typeface="Arial"/>
                <a:cs typeface="Arial"/>
              </a:rPr>
              <a:t>Analysis</a:t>
            </a:r>
            <a:r>
              <a:rPr sz="1400" b="1" spc="-110" dirty="0">
                <a:latin typeface="Arial"/>
                <a:cs typeface="Arial"/>
              </a:rPr>
              <a:t> </a:t>
            </a:r>
            <a:r>
              <a:rPr sz="1400" b="1" spc="-25" dirty="0">
                <a:latin typeface="Arial"/>
                <a:cs typeface="Arial"/>
              </a:rPr>
              <a:t>(CO/PA)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400" b="1" dirty="0">
                <a:latin typeface="Arial"/>
                <a:cs typeface="Arial"/>
              </a:rPr>
              <a:t>Profit </a:t>
            </a:r>
            <a:r>
              <a:rPr sz="1400" b="1" spc="-5" dirty="0">
                <a:latin typeface="Arial"/>
                <a:cs typeface="Arial"/>
              </a:rPr>
              <a:t>Centre</a:t>
            </a:r>
            <a:r>
              <a:rPr sz="1400" b="1" spc="-160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Accounting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400" b="1" spc="-10" dirty="0">
                <a:latin typeface="Arial"/>
                <a:cs typeface="Arial"/>
              </a:rPr>
              <a:t>Accounting</a:t>
            </a:r>
            <a:endParaRPr sz="140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15"/>
              </a:spcBef>
              <a:buFont typeface="Arial"/>
              <a:buChar char="–"/>
            </a:pPr>
            <a:endParaRPr sz="1450">
              <a:latin typeface="Times New Roman"/>
              <a:cs typeface="Times New Roman"/>
            </a:endParaRPr>
          </a:p>
          <a:p>
            <a:pPr marL="139065" indent="-126364" algn="just">
              <a:lnSpc>
                <a:spcPct val="100000"/>
              </a:lnSpc>
              <a:buFont typeface="Arial"/>
              <a:buChar char="•"/>
              <a:tabLst>
                <a:tab pos="139700" algn="l"/>
              </a:tabLst>
            </a:pPr>
            <a:r>
              <a:rPr sz="1600" b="1" spc="-10" dirty="0">
                <a:latin typeface="Arial"/>
                <a:cs typeface="Arial"/>
              </a:rPr>
              <a:t>Other </a:t>
            </a:r>
            <a:r>
              <a:rPr sz="1600" b="1" spc="-5" dirty="0">
                <a:latin typeface="Arial"/>
                <a:cs typeface="Arial"/>
              </a:rPr>
              <a:t>important areas of integration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5" dirty="0">
                <a:latin typeface="Arial"/>
                <a:cs typeface="Arial"/>
              </a:rPr>
              <a:t>FI</a:t>
            </a:r>
            <a:r>
              <a:rPr sz="1600" b="1" spc="1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re: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818888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ts val="5265"/>
              </a:lnSpc>
            </a:pPr>
            <a:r>
              <a:rPr dirty="0"/>
              <a:t>Integration with</a:t>
            </a:r>
            <a:r>
              <a:rPr spc="-75" dirty="0"/>
              <a:t> </a:t>
            </a:r>
            <a:r>
              <a:rPr dirty="0"/>
              <a:t>FI</a:t>
            </a:r>
          </a:p>
        </p:txBody>
      </p:sp>
      <p:sp>
        <p:nvSpPr>
          <p:cNvPr id="6" name="object 6"/>
          <p:cNvSpPr/>
          <p:nvPr/>
        </p:nvSpPr>
        <p:spPr>
          <a:xfrm>
            <a:off x="480059" y="3276600"/>
            <a:ext cx="583691" cy="2179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80059" y="3415284"/>
            <a:ext cx="990600" cy="21640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80059" y="4172711"/>
            <a:ext cx="1046988" cy="2209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80059" y="4325111"/>
            <a:ext cx="569976" cy="22098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80059" y="5056632"/>
            <a:ext cx="1088136" cy="2209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80059" y="5750052"/>
            <a:ext cx="723900" cy="21793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80059" y="5888735"/>
            <a:ext cx="1138428" cy="21640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435608" y="5888735"/>
            <a:ext cx="217932" cy="21640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4" name="object 14"/>
          <p:cNvGraphicFramePr>
            <a:graphicFrameLocks noGrp="1"/>
          </p:cNvGraphicFramePr>
          <p:nvPr/>
        </p:nvGraphicFramePr>
        <p:xfrm>
          <a:off x="463550" y="3279775"/>
          <a:ext cx="8204200" cy="29619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2700"/>
                <a:gridCol w="6921500"/>
              </a:tblGrid>
              <a:tr h="883919">
                <a:tc>
                  <a:txBody>
                    <a:bodyPr/>
                    <a:lstStyle/>
                    <a:p>
                      <a:pPr marL="85090" marR="400685">
                        <a:lnSpc>
                          <a:spcPts val="1100"/>
                        </a:lnSpc>
                        <a:spcBef>
                          <a:spcPts val="235"/>
                        </a:spcBef>
                      </a:pPr>
                      <a:r>
                        <a:rPr sz="1000" b="1" spc="-5" dirty="0">
                          <a:latin typeface="Arial"/>
                          <a:cs typeface="Arial"/>
                        </a:rPr>
                        <a:t>Credit  </a:t>
                      </a:r>
                      <a:r>
                        <a:rPr sz="1000" b="1" spc="20" dirty="0">
                          <a:latin typeface="Arial"/>
                          <a:cs typeface="Arial"/>
                        </a:rPr>
                        <a:t>M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anagemen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765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Credit Management enable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o minimize the credit risk by specifying a specific credit  limit for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r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ustomers.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Thu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an take the financial pulse of a customer and enhance 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your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redit-related decision-making. </a:t>
                      </a:r>
                      <a:r>
                        <a:rPr sz="1300" spc="-5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an specify at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ritical points (for example  order 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entry,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delivery,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goods issue) the system carries out these credit</a:t>
                      </a:r>
                      <a:r>
                        <a:rPr sz="1300" spc="3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hecks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883919">
                <a:tc>
                  <a:txBody>
                    <a:bodyPr/>
                    <a:lstStyle/>
                    <a:p>
                      <a:pPr marL="85090" marR="34671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In</a:t>
                      </a:r>
                      <a:r>
                        <a:rPr sz="1000" b="1" spc="5" dirty="0"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company  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Billing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4922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A sales organization creates a sales order for ordering goods from a plant assigned to  another company code. The plant in the delivering company code delivers the goods to the 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customer.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Because the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two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companies balance their accounts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independently,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the delivering  company must bill the ordering company for the</a:t>
                      </a:r>
                      <a:r>
                        <a:rPr sz="1300" spc="1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goods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706437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000" b="1" dirty="0">
                          <a:latin typeface="Arial"/>
                          <a:cs typeface="Arial"/>
                        </a:rPr>
                        <a:t>Down</a:t>
                      </a:r>
                      <a:r>
                        <a:rPr sz="1000" b="1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Paymen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454659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sz="1300" spc="-10" dirty="0">
                          <a:latin typeface="Arial"/>
                          <a:cs typeface="Arial"/>
                        </a:rPr>
                        <a:t>Down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ayments are payments made before completion of the product,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it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no interest.  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Normally,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down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ayment agreements are made for producing and delivering goods to  customers in the capital goods, or plant engineering and construction</a:t>
                      </a:r>
                      <a:r>
                        <a:rPr sz="1300" spc="3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industries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487680">
                <a:tc>
                  <a:txBody>
                    <a:bodyPr/>
                    <a:lstStyle/>
                    <a:p>
                      <a:pPr marL="85090" marR="325755">
                        <a:lnSpc>
                          <a:spcPts val="1090"/>
                        </a:lnSpc>
                        <a:spcBef>
                          <a:spcPts val="250"/>
                        </a:spcBef>
                      </a:pPr>
                      <a:r>
                        <a:rPr sz="1000" b="1" spc="-10" dirty="0">
                          <a:latin typeface="Arial"/>
                          <a:cs typeface="Arial"/>
                        </a:rPr>
                        <a:t>Account 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Dete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mination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8605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Revenue Account Determination is a process by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ccounts to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rices, discounts  and surcharges are</a:t>
                      </a:r>
                      <a:r>
                        <a:rPr sz="1300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osted.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96900" y="1364741"/>
            <a:ext cx="7639684" cy="9759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540"/>
              </a:lnSpc>
            </a:pPr>
            <a:r>
              <a:rPr sz="1600" b="1" spc="-5" dirty="0">
                <a:latin typeface="Arial"/>
                <a:cs typeface="Arial"/>
              </a:rPr>
              <a:t>Material requirements planning is informed of quantities </a:t>
            </a:r>
            <a:r>
              <a:rPr sz="1600" b="1" spc="5" dirty="0">
                <a:latin typeface="Arial"/>
                <a:cs typeface="Arial"/>
              </a:rPr>
              <a:t>which </a:t>
            </a:r>
            <a:r>
              <a:rPr sz="1600" b="1" spc="-5" dirty="0">
                <a:latin typeface="Arial"/>
                <a:cs typeface="Arial"/>
              </a:rPr>
              <a:t>sales and  distribution require to be able to </a:t>
            </a:r>
            <a:r>
              <a:rPr sz="1600" b="1" spc="-10" dirty="0">
                <a:latin typeface="Arial"/>
                <a:cs typeface="Arial"/>
              </a:rPr>
              <a:t>deliver </a:t>
            </a:r>
            <a:r>
              <a:rPr sz="1600" b="1" spc="-5" dirty="0">
                <a:latin typeface="Arial"/>
                <a:cs typeface="Arial"/>
              </a:rPr>
              <a:t>orders </a:t>
            </a:r>
            <a:r>
              <a:rPr sz="1600" b="1" spc="-10" dirty="0">
                <a:latin typeface="Arial"/>
                <a:cs typeface="Arial"/>
              </a:rPr>
              <a:t>received. </a:t>
            </a:r>
            <a:r>
              <a:rPr sz="1600" b="1" spc="-5" dirty="0">
                <a:latin typeface="Arial"/>
                <a:cs typeface="Arial"/>
              </a:rPr>
              <a:t>If sufficient quantities  are </a:t>
            </a:r>
            <a:r>
              <a:rPr sz="1600" b="1" spc="-10" dirty="0">
                <a:latin typeface="Arial"/>
                <a:cs typeface="Arial"/>
              </a:rPr>
              <a:t>not available </a:t>
            </a:r>
            <a:r>
              <a:rPr sz="1600" b="1" spc="-5" dirty="0">
                <a:latin typeface="Arial"/>
                <a:cs typeface="Arial"/>
              </a:rPr>
              <a:t>to </a:t>
            </a:r>
            <a:r>
              <a:rPr sz="1600" b="1" spc="-15" dirty="0">
                <a:latin typeface="Arial"/>
                <a:cs typeface="Arial"/>
              </a:rPr>
              <a:t>cover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requirements, purchase requisitions and orders, 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example, can be created in Purchasing o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basis of transfer of  requirements </a:t>
            </a:r>
            <a:r>
              <a:rPr sz="1600" b="1" dirty="0">
                <a:latin typeface="Arial"/>
                <a:cs typeface="Arial"/>
              </a:rPr>
              <a:t>within </a:t>
            </a:r>
            <a:r>
              <a:rPr sz="1600" b="1" spc="-5" dirty="0">
                <a:latin typeface="Arial"/>
                <a:cs typeface="Arial"/>
              </a:rPr>
              <a:t>automatic</a:t>
            </a:r>
            <a:r>
              <a:rPr sz="1600" b="1" spc="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lanning.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96900" y="4584065"/>
            <a:ext cx="7827009" cy="5981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ts val="1540"/>
              </a:lnSpc>
            </a:pP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movement is a </a:t>
            </a:r>
            <a:r>
              <a:rPr sz="1600" b="1" dirty="0">
                <a:latin typeface="Arial"/>
                <a:cs typeface="Arial"/>
              </a:rPr>
              <a:t>transaction </a:t>
            </a:r>
            <a:r>
              <a:rPr sz="1600" b="1" spc="-5" dirty="0">
                <a:latin typeface="Arial"/>
                <a:cs typeface="Arial"/>
              </a:rPr>
              <a:t>resulting in a change in stock. When posting  a goods movement in the </a:t>
            </a:r>
            <a:r>
              <a:rPr sz="1600" b="1" spc="-15" dirty="0">
                <a:latin typeface="Arial"/>
                <a:cs typeface="Arial"/>
              </a:rPr>
              <a:t>SAP </a:t>
            </a:r>
            <a:r>
              <a:rPr sz="1600" b="1" spc="-5" dirty="0">
                <a:latin typeface="Arial"/>
                <a:cs typeface="Arial"/>
              </a:rPr>
              <a:t>System, a Material Document &amp; Accounting  document are</a:t>
            </a:r>
            <a:r>
              <a:rPr sz="1600" b="1" spc="-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reated.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440679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Integration MM &amp;</a:t>
            </a:r>
            <a:r>
              <a:rPr spc="-75" dirty="0"/>
              <a:t> </a:t>
            </a:r>
            <a:r>
              <a:rPr dirty="0"/>
              <a:t>PP</a:t>
            </a:r>
          </a:p>
        </p:txBody>
      </p:sp>
      <p:sp>
        <p:nvSpPr>
          <p:cNvPr id="7" name="object 7"/>
          <p:cNvSpPr/>
          <p:nvPr/>
        </p:nvSpPr>
        <p:spPr>
          <a:xfrm>
            <a:off x="359663" y="2383535"/>
            <a:ext cx="1222248" cy="2956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59663" y="2577083"/>
            <a:ext cx="1004316" cy="2941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59663" y="2769107"/>
            <a:ext cx="1210056" cy="29413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59663" y="2961132"/>
            <a:ext cx="1434084" cy="2941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1" name="object 11"/>
          <p:cNvGraphicFramePr>
            <a:graphicFrameLocks noGrp="1"/>
          </p:cNvGraphicFramePr>
          <p:nvPr/>
        </p:nvGraphicFramePr>
        <p:xfrm>
          <a:off x="374650" y="2408301"/>
          <a:ext cx="8293100" cy="201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1600"/>
                <a:gridCol w="6921500"/>
              </a:tblGrid>
              <a:tr h="2011680">
                <a:tc>
                  <a:txBody>
                    <a:bodyPr/>
                    <a:lstStyle/>
                    <a:p>
                      <a:pPr marL="85090" marR="80010">
                        <a:lnSpc>
                          <a:spcPct val="90200"/>
                        </a:lnSpc>
                        <a:spcBef>
                          <a:spcPts val="219"/>
                        </a:spcBef>
                      </a:pPr>
                      <a:r>
                        <a:rPr sz="1400" b="1" spc="-10" dirty="0">
                          <a:latin typeface="Arial"/>
                          <a:cs typeface="Arial"/>
                        </a:rPr>
                        <a:t>Availability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Check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&amp; 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Transfer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f 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qu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ireme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9080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spc="5" dirty="0">
                          <a:latin typeface="Arial"/>
                          <a:cs typeface="Arial"/>
                        </a:rPr>
                        <a:t>Whe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nter a sales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an only confirm 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the goods for the  require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ate if the goods ar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vailabl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all the necessary processing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ctivities which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ake place before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delivery.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hipping departme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us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nsure that  freigh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forwarding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 another shipping company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dvis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arly enough so that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ufficient tim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mains for packing and loading to be carried out. A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vailabilit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heck  can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arried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ut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n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eadline</a:t>
                      </a:r>
                      <a:r>
                        <a:rPr sz="14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at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vailability</a:t>
                      </a:r>
                      <a:r>
                        <a:rPr sz="14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.</a:t>
                      </a:r>
                      <a:r>
                        <a:rPr sz="14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procurement  department</a:t>
                      </a:r>
                      <a:r>
                        <a:rPr sz="14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ust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nsur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at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production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purchasing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epartments</a:t>
                      </a:r>
                      <a:r>
                        <a:rPr sz="14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r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dvised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inadequate stock quantities so that goods can either be produced punctually or  ordered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2" name="object 12"/>
          <p:cNvSpPr/>
          <p:nvPr/>
        </p:nvSpPr>
        <p:spPr>
          <a:xfrm>
            <a:off x="448055" y="5216652"/>
            <a:ext cx="854963" cy="30022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8055" y="5430011"/>
            <a:ext cx="1226820" cy="3002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4" name="object 14"/>
          <p:cNvGraphicFramePr>
            <a:graphicFrameLocks noGrp="1"/>
          </p:cNvGraphicFramePr>
          <p:nvPr/>
        </p:nvGraphicFramePr>
        <p:xfrm>
          <a:off x="463550" y="5224398"/>
          <a:ext cx="8204200" cy="9449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2700"/>
                <a:gridCol w="6921500"/>
              </a:tblGrid>
              <a:tr h="944943">
                <a:tc>
                  <a:txBody>
                    <a:bodyPr/>
                    <a:lstStyle/>
                    <a:p>
                      <a:pPr marL="85090" marR="19685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Goods  </a:t>
                      </a:r>
                      <a:r>
                        <a:rPr sz="1400" b="1" spc="15" dirty="0">
                          <a:latin typeface="Arial"/>
                          <a:cs typeface="Arial"/>
                        </a:rPr>
                        <a:t>M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400" b="1" spc="-15" dirty="0">
                          <a:latin typeface="Arial"/>
                          <a:cs typeface="Arial"/>
                        </a:rPr>
                        <a:t>v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eme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8445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A docume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us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 generated and stored in 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ystem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every transaction/event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at</a:t>
                      </a:r>
                      <a:r>
                        <a:rPr sz="14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auses</a:t>
                      </a:r>
                      <a:r>
                        <a:rPr sz="14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hange</a:t>
                      </a:r>
                      <a:r>
                        <a:rPr sz="14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n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tock.</a:t>
                      </a:r>
                      <a:r>
                        <a:rPr sz="14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example,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ssu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al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 Consignment ha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fferen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mplications on stocks &amp; cost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s controlled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via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ovement</a:t>
                      </a:r>
                      <a:r>
                        <a:rPr sz="1400" spc="-1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Types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807964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P Screen</a:t>
            </a:r>
            <a:r>
              <a:rPr spc="-135" dirty="0"/>
              <a:t> </a:t>
            </a:r>
            <a:r>
              <a:rPr dirty="0"/>
              <a:t>Elements</a:t>
            </a:r>
          </a:p>
        </p:txBody>
      </p:sp>
      <p:sp>
        <p:nvSpPr>
          <p:cNvPr id="5" name="object 5"/>
          <p:cNvSpPr/>
          <p:nvPr/>
        </p:nvSpPr>
        <p:spPr>
          <a:xfrm>
            <a:off x="542925" y="1295400"/>
            <a:ext cx="7915275" cy="4876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7938516" y="291084"/>
            <a:ext cx="729996" cy="7391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56114" y="73047"/>
            <a:ext cx="9143999" cy="1002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600" dirty="0"/>
              <a:t>Organisational Structure -</a:t>
            </a:r>
            <a:r>
              <a:rPr sz="3600" spc="-135" dirty="0"/>
              <a:t> </a:t>
            </a:r>
            <a:r>
              <a:rPr sz="3600" dirty="0"/>
              <a:t>Definition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654074" y="1116463"/>
            <a:ext cx="6133465" cy="6343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Arial"/>
                <a:cs typeface="Arial"/>
              </a:rPr>
              <a:t>Organisational Structure consists of the</a:t>
            </a:r>
            <a:r>
              <a:rPr sz="2000" b="1" spc="-16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following:</a:t>
            </a:r>
            <a:endParaRPr sz="2000" dirty="0">
              <a:latin typeface="Arial"/>
              <a:cs typeface="Arial"/>
            </a:endParaRPr>
          </a:p>
          <a:p>
            <a:pPr marL="489584">
              <a:lnSpc>
                <a:spcPct val="100000"/>
              </a:lnSpc>
              <a:spcBef>
                <a:spcPts val="915"/>
              </a:spcBef>
            </a:pPr>
            <a:r>
              <a:rPr sz="1400" b="1" dirty="0">
                <a:solidFill>
                  <a:srgbClr val="BB00BB"/>
                </a:solidFill>
                <a:latin typeface="Georgia"/>
                <a:cs typeface="Georgia"/>
              </a:rPr>
              <a:t>Company Code </a:t>
            </a:r>
            <a:r>
              <a:rPr sz="1400" b="1" spc="-5" dirty="0">
                <a:latin typeface="Georgia"/>
                <a:cs typeface="Georgia"/>
              </a:rPr>
              <a:t>is </a:t>
            </a:r>
            <a:r>
              <a:rPr sz="1400" b="1" dirty="0">
                <a:latin typeface="Georgia"/>
                <a:cs typeface="Georgia"/>
              </a:rPr>
              <a:t>the smallest organizational unit </a:t>
            </a:r>
            <a:r>
              <a:rPr sz="1400" b="1" spc="-5" dirty="0">
                <a:latin typeface="Georgia"/>
                <a:cs typeface="Georgia"/>
              </a:rPr>
              <a:t>of</a:t>
            </a:r>
            <a:r>
              <a:rPr sz="1400" b="1" spc="-170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external</a:t>
            </a:r>
            <a:endParaRPr sz="1400" dirty="0">
              <a:latin typeface="Georgia"/>
              <a:cs typeface="Georg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45616" y="1709546"/>
            <a:ext cx="5793740" cy="652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b="1" dirty="0">
                <a:latin typeface="Georgia"/>
                <a:cs typeface="Georgia"/>
              </a:rPr>
              <a:t>accounting for </a:t>
            </a:r>
            <a:r>
              <a:rPr sz="1400" b="1" spc="-5" dirty="0">
                <a:latin typeface="Georgia"/>
                <a:cs typeface="Georgia"/>
              </a:rPr>
              <a:t>which </a:t>
            </a:r>
            <a:r>
              <a:rPr sz="1400" b="1" dirty="0">
                <a:latin typeface="Georgia"/>
                <a:cs typeface="Georgia"/>
              </a:rPr>
              <a:t>a complete, self-contained set </a:t>
            </a:r>
            <a:r>
              <a:rPr sz="1400" b="1" spc="-5" dirty="0">
                <a:latin typeface="Georgia"/>
                <a:cs typeface="Georgia"/>
              </a:rPr>
              <a:t>of</a:t>
            </a:r>
            <a:r>
              <a:rPr sz="1400" b="1" spc="-130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accounts  </a:t>
            </a:r>
            <a:r>
              <a:rPr sz="1400" b="1" spc="-5" dirty="0">
                <a:latin typeface="Georgia"/>
                <a:cs typeface="Georgia"/>
              </a:rPr>
              <a:t>can </a:t>
            </a:r>
            <a:r>
              <a:rPr sz="1400" b="1" spc="5" dirty="0">
                <a:latin typeface="Georgia"/>
                <a:cs typeface="Georgia"/>
              </a:rPr>
              <a:t>be </a:t>
            </a:r>
            <a:r>
              <a:rPr sz="1400" b="1" dirty="0">
                <a:latin typeface="Georgia"/>
                <a:cs typeface="Georgia"/>
              </a:rPr>
              <a:t>created. Company Code forms the top </a:t>
            </a:r>
            <a:r>
              <a:rPr sz="1400" b="1" spc="-5" dirty="0">
                <a:latin typeface="Georgia"/>
                <a:cs typeface="Georgia"/>
              </a:rPr>
              <a:t>of </a:t>
            </a:r>
            <a:r>
              <a:rPr sz="1400" b="1" dirty="0">
                <a:latin typeface="Georgia"/>
                <a:cs typeface="Georgia"/>
              </a:rPr>
              <a:t>the sales and  </a:t>
            </a:r>
            <a:r>
              <a:rPr sz="1400" b="1" spc="-5" dirty="0">
                <a:latin typeface="Georgia"/>
                <a:cs typeface="Georgia"/>
              </a:rPr>
              <a:t>distribution chain, </a:t>
            </a:r>
            <a:r>
              <a:rPr sz="1400" b="1" dirty="0">
                <a:latin typeface="Georgia"/>
                <a:cs typeface="Georgia"/>
              </a:rPr>
              <a:t>and its definition is</a:t>
            </a:r>
            <a:r>
              <a:rPr sz="1400" b="1" spc="-95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mandatory.</a:t>
            </a:r>
            <a:endParaRPr sz="1400">
              <a:latin typeface="Georgia"/>
              <a:cs typeface="Georgia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935723" y="1175003"/>
            <a:ext cx="1527048" cy="12435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34910" y="1331467"/>
            <a:ext cx="1140206" cy="12593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7362190" y="1798573"/>
            <a:ext cx="465455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585" marR="5080" indent="-96520">
              <a:lnSpc>
                <a:spcPct val="100000"/>
              </a:lnSpc>
            </a:pPr>
            <a:r>
              <a:rPr sz="900" b="1" dirty="0">
                <a:latin typeface="Arial"/>
                <a:cs typeface="Arial"/>
              </a:rPr>
              <a:t>Balance  Sheet</a:t>
            </a:r>
            <a:endParaRPr sz="9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04800" y="2419350"/>
            <a:ext cx="1600200" cy="15652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402742" y="2783966"/>
            <a:ext cx="7628890" cy="2123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46250" marR="5080">
              <a:lnSpc>
                <a:spcPct val="100000"/>
              </a:lnSpc>
            </a:pPr>
            <a:r>
              <a:rPr sz="1400" b="1" dirty="0">
                <a:solidFill>
                  <a:srgbClr val="BB00BB"/>
                </a:solidFill>
                <a:latin typeface="Georgia"/>
                <a:cs typeface="Georgia"/>
              </a:rPr>
              <a:t>Sales Organisation </a:t>
            </a:r>
            <a:r>
              <a:rPr sz="1400" b="1" spc="-5" dirty="0">
                <a:latin typeface="Georgia"/>
                <a:cs typeface="Georgia"/>
              </a:rPr>
              <a:t>is </a:t>
            </a:r>
            <a:r>
              <a:rPr sz="1400" b="1" dirty="0">
                <a:latin typeface="Georgia"/>
                <a:cs typeface="Georgia"/>
              </a:rPr>
              <a:t>responsible for the sale and distribution</a:t>
            </a:r>
            <a:r>
              <a:rPr sz="1400" b="1" spc="-190" dirty="0">
                <a:latin typeface="Georgia"/>
                <a:cs typeface="Georgia"/>
              </a:rPr>
              <a:t> </a:t>
            </a:r>
            <a:r>
              <a:rPr sz="1400" b="1" spc="-5" dirty="0">
                <a:latin typeface="Georgia"/>
                <a:cs typeface="Georgia"/>
              </a:rPr>
              <a:t>of  goods </a:t>
            </a:r>
            <a:r>
              <a:rPr sz="1400" b="1" dirty="0">
                <a:latin typeface="Georgia"/>
                <a:cs typeface="Georgia"/>
              </a:rPr>
              <a:t>and </a:t>
            </a:r>
            <a:r>
              <a:rPr sz="1400" b="1" spc="-5" dirty="0">
                <a:latin typeface="Georgia"/>
                <a:cs typeface="Georgia"/>
              </a:rPr>
              <a:t>services, </a:t>
            </a:r>
            <a:r>
              <a:rPr sz="1400" b="1" dirty="0">
                <a:latin typeface="Georgia"/>
                <a:cs typeface="Georgia"/>
              </a:rPr>
              <a:t>and represents the </a:t>
            </a:r>
            <a:r>
              <a:rPr sz="1400" b="1" spc="-5" dirty="0">
                <a:latin typeface="Georgia"/>
                <a:cs typeface="Georgia"/>
              </a:rPr>
              <a:t>selling </a:t>
            </a:r>
            <a:r>
              <a:rPr sz="1400" b="1" dirty="0">
                <a:latin typeface="Georgia"/>
                <a:cs typeface="Georgia"/>
              </a:rPr>
              <a:t>unit as a </a:t>
            </a:r>
            <a:r>
              <a:rPr sz="1400" b="1" spc="-5" dirty="0">
                <a:latin typeface="Georgia"/>
                <a:cs typeface="Georgia"/>
              </a:rPr>
              <a:t>legal  </a:t>
            </a:r>
            <a:r>
              <a:rPr sz="1400" b="1" dirty="0">
                <a:latin typeface="Georgia"/>
                <a:cs typeface="Georgia"/>
              </a:rPr>
              <a:t>entity. It </a:t>
            </a:r>
            <a:r>
              <a:rPr sz="1400" b="1" spc="-5" dirty="0">
                <a:latin typeface="Georgia"/>
                <a:cs typeface="Georgia"/>
              </a:rPr>
              <a:t>is </a:t>
            </a:r>
            <a:r>
              <a:rPr sz="1400" b="1" dirty="0">
                <a:latin typeface="Georgia"/>
                <a:cs typeface="Georgia"/>
              </a:rPr>
              <a:t>also responsible for product </a:t>
            </a:r>
            <a:r>
              <a:rPr sz="1400" b="1" spc="-5" dirty="0">
                <a:latin typeface="Georgia"/>
                <a:cs typeface="Georgia"/>
              </a:rPr>
              <a:t>liability </a:t>
            </a:r>
            <a:r>
              <a:rPr sz="1400" b="1" dirty="0">
                <a:latin typeface="Georgia"/>
                <a:cs typeface="Georgia"/>
              </a:rPr>
              <a:t>and other</a:t>
            </a:r>
            <a:r>
              <a:rPr sz="1400" b="1" spc="-135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rights  </a:t>
            </a:r>
            <a:r>
              <a:rPr sz="1400" b="1" spc="-5" dirty="0">
                <a:latin typeface="Georgia"/>
                <a:cs typeface="Georgia"/>
              </a:rPr>
              <a:t>of </a:t>
            </a:r>
            <a:r>
              <a:rPr sz="1400" b="1" dirty="0">
                <a:latin typeface="Georgia"/>
                <a:cs typeface="Georgia"/>
              </a:rPr>
              <a:t>recourse. It </a:t>
            </a:r>
            <a:r>
              <a:rPr sz="1400" b="1" spc="-5" dirty="0">
                <a:latin typeface="Georgia"/>
                <a:cs typeface="Georgia"/>
              </a:rPr>
              <a:t>is </a:t>
            </a:r>
            <a:r>
              <a:rPr sz="1400" b="1" dirty="0">
                <a:latin typeface="Georgia"/>
                <a:cs typeface="Georgia"/>
              </a:rPr>
              <a:t>highest organizational unit within</a:t>
            </a:r>
            <a:r>
              <a:rPr sz="1400" b="1" spc="-125" dirty="0">
                <a:latin typeface="Georgia"/>
                <a:cs typeface="Georgia"/>
              </a:rPr>
              <a:t> </a:t>
            </a:r>
            <a:r>
              <a:rPr sz="1400" b="1" spc="-5" dirty="0">
                <a:latin typeface="Georgia"/>
                <a:cs typeface="Georgia"/>
              </a:rPr>
              <a:t>Logistics.</a:t>
            </a:r>
            <a:endParaRPr sz="1400">
              <a:latin typeface="Georgia"/>
              <a:cs typeface="Georgia"/>
            </a:endParaRPr>
          </a:p>
          <a:p>
            <a:pPr marL="1746250" marR="473075">
              <a:lnSpc>
                <a:spcPct val="100000"/>
              </a:lnSpc>
            </a:pPr>
            <a:r>
              <a:rPr sz="1400" b="1" dirty="0">
                <a:latin typeface="Georgia"/>
                <a:cs typeface="Georgia"/>
              </a:rPr>
              <a:t>Sales Organization </a:t>
            </a:r>
            <a:r>
              <a:rPr sz="1400" b="1" spc="-5" dirty="0">
                <a:latin typeface="Georgia"/>
                <a:cs typeface="Georgia"/>
              </a:rPr>
              <a:t>can </a:t>
            </a:r>
            <a:r>
              <a:rPr sz="1400" b="1" spc="5" dirty="0">
                <a:latin typeface="Georgia"/>
                <a:cs typeface="Georgia"/>
              </a:rPr>
              <a:t>be </a:t>
            </a:r>
            <a:r>
              <a:rPr sz="1400" b="1" dirty="0">
                <a:latin typeface="Georgia"/>
                <a:cs typeface="Georgia"/>
              </a:rPr>
              <a:t>assigned to exactly </a:t>
            </a:r>
            <a:r>
              <a:rPr sz="1400" b="1" u="sng" spc="-5" dirty="0">
                <a:latin typeface="Georgia"/>
                <a:cs typeface="Georgia"/>
              </a:rPr>
              <a:t>one</a:t>
            </a:r>
            <a:r>
              <a:rPr sz="1400" b="1" u="sng" spc="-150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Company  Code.</a:t>
            </a:r>
            <a:endParaRPr sz="14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300">
              <a:latin typeface="Times New Roman"/>
              <a:cs typeface="Times New Roman"/>
            </a:endParaRPr>
          </a:p>
          <a:p>
            <a:pPr marL="12700" marR="2360295">
              <a:lnSpc>
                <a:spcPct val="100000"/>
              </a:lnSpc>
            </a:pPr>
            <a:r>
              <a:rPr sz="1400" b="1" dirty="0">
                <a:solidFill>
                  <a:srgbClr val="BB00BB"/>
                </a:solidFill>
                <a:latin typeface="Georgia"/>
                <a:cs typeface="Georgia"/>
              </a:rPr>
              <a:t>Distribution Channel </a:t>
            </a:r>
            <a:r>
              <a:rPr sz="1400" b="1" dirty="0">
                <a:latin typeface="Georgia"/>
                <a:cs typeface="Georgia"/>
              </a:rPr>
              <a:t>represents the channel through  </a:t>
            </a:r>
            <a:r>
              <a:rPr sz="1400" b="1" spc="-5" dirty="0">
                <a:latin typeface="Georgia"/>
                <a:cs typeface="Georgia"/>
              </a:rPr>
              <a:t>which </a:t>
            </a:r>
            <a:r>
              <a:rPr sz="1400" b="1" dirty="0">
                <a:latin typeface="Georgia"/>
                <a:cs typeface="Georgia"/>
              </a:rPr>
              <a:t>sellable materials </a:t>
            </a:r>
            <a:r>
              <a:rPr sz="1400" b="1" spc="-5" dirty="0">
                <a:latin typeface="Georgia"/>
                <a:cs typeface="Georgia"/>
              </a:rPr>
              <a:t>or services </a:t>
            </a:r>
            <a:r>
              <a:rPr sz="1400" b="1" dirty="0">
                <a:latin typeface="Georgia"/>
                <a:cs typeface="Georgia"/>
              </a:rPr>
              <a:t>reach customers</a:t>
            </a:r>
            <a:r>
              <a:rPr sz="1400" b="1" spc="-125" dirty="0">
                <a:latin typeface="Georgia"/>
                <a:cs typeface="Georgia"/>
              </a:rPr>
              <a:t> </a:t>
            </a:r>
            <a:r>
              <a:rPr sz="1400" b="1" spc="-5" dirty="0">
                <a:latin typeface="Georgia"/>
                <a:cs typeface="Georgia"/>
              </a:rPr>
              <a:t>(e.g.  </a:t>
            </a:r>
            <a:r>
              <a:rPr sz="1400" b="1" dirty="0">
                <a:latin typeface="Georgia"/>
                <a:cs typeface="Georgia"/>
              </a:rPr>
              <a:t>retail, </a:t>
            </a:r>
            <a:r>
              <a:rPr sz="1400" b="1" spc="-5" dirty="0">
                <a:latin typeface="Georgia"/>
                <a:cs typeface="Georgia"/>
              </a:rPr>
              <a:t>wholesale, </a:t>
            </a:r>
            <a:r>
              <a:rPr sz="1400" b="1" dirty="0">
                <a:latin typeface="Georgia"/>
                <a:cs typeface="Georgia"/>
              </a:rPr>
              <a:t>direct, e-commerce,</a:t>
            </a:r>
            <a:r>
              <a:rPr sz="1400" b="1" spc="-110" dirty="0">
                <a:latin typeface="Georgia"/>
                <a:cs typeface="Georgia"/>
              </a:rPr>
              <a:t> </a:t>
            </a:r>
            <a:r>
              <a:rPr sz="1400" b="1" dirty="0">
                <a:latin typeface="Georgia"/>
                <a:cs typeface="Georgia"/>
              </a:rPr>
              <a:t>etc)</a:t>
            </a:r>
            <a:endParaRPr sz="1400">
              <a:latin typeface="Georgia"/>
              <a:cs typeface="Georg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812846" y="5434305"/>
            <a:ext cx="3826510" cy="652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400" b="1" spc="-5" dirty="0">
                <a:solidFill>
                  <a:srgbClr val="BB00BB"/>
                </a:solidFill>
                <a:latin typeface="Georgia"/>
                <a:cs typeface="Georgia"/>
              </a:rPr>
              <a:t>Division </a:t>
            </a:r>
            <a:r>
              <a:rPr sz="1400" b="1" spc="-5" dirty="0">
                <a:latin typeface="Georgia"/>
                <a:cs typeface="Georgia"/>
              </a:rPr>
              <a:t>is </a:t>
            </a:r>
            <a:r>
              <a:rPr sz="1400" b="1" dirty="0">
                <a:latin typeface="Georgia"/>
                <a:cs typeface="Georgia"/>
              </a:rPr>
              <a:t>a </a:t>
            </a:r>
            <a:r>
              <a:rPr sz="1400" b="1" spc="-5" dirty="0">
                <a:latin typeface="Georgia"/>
                <a:cs typeface="Georgia"/>
              </a:rPr>
              <a:t>collection of Product </a:t>
            </a:r>
            <a:r>
              <a:rPr sz="1400" b="1" dirty="0">
                <a:latin typeface="Georgia"/>
                <a:cs typeface="Georgia"/>
              </a:rPr>
              <a:t>groups.  A material belongs to exactly </a:t>
            </a:r>
            <a:r>
              <a:rPr sz="1400" b="1" spc="-5" dirty="0">
                <a:latin typeface="Georgia"/>
                <a:cs typeface="Georgia"/>
              </a:rPr>
              <a:t>one division  </a:t>
            </a:r>
            <a:r>
              <a:rPr sz="1400" b="1" dirty="0">
                <a:latin typeface="Georgia"/>
                <a:cs typeface="Georgia"/>
              </a:rPr>
              <a:t>only.</a:t>
            </a:r>
            <a:endParaRPr sz="1400">
              <a:latin typeface="Georgia"/>
              <a:cs typeface="Georgi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288659" y="4005587"/>
            <a:ext cx="1499656" cy="142871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56114" y="4958733"/>
            <a:ext cx="1624726" cy="128966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82573" y="43853"/>
            <a:ext cx="9143999" cy="1002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600" dirty="0"/>
              <a:t>Organisational Structure -</a:t>
            </a:r>
            <a:r>
              <a:rPr sz="3600" spc="-135" dirty="0"/>
              <a:t> </a:t>
            </a:r>
            <a:r>
              <a:rPr sz="3600" dirty="0"/>
              <a:t>Definition</a:t>
            </a:r>
          </a:p>
        </p:txBody>
      </p:sp>
      <p:sp>
        <p:nvSpPr>
          <p:cNvPr id="33" name="object 3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 vert="horz" wrap="square" lIns="0" tIns="1525396" rIns="0" bIns="0" rtlCol="0">
            <a:spAutoFit/>
          </a:bodyPr>
          <a:lstStyle/>
          <a:p>
            <a:pPr marL="3184525" marR="5080">
              <a:lnSpc>
                <a:spcPct val="100000"/>
              </a:lnSpc>
            </a:pPr>
            <a:r>
              <a:rPr sz="1800" b="1" spc="-5" dirty="0">
                <a:solidFill>
                  <a:srgbClr val="BB00BB"/>
                </a:solidFill>
                <a:latin typeface="Arial"/>
                <a:cs typeface="Arial"/>
              </a:rPr>
              <a:t>Sales </a:t>
            </a:r>
            <a:r>
              <a:rPr sz="1800" b="1" dirty="0">
                <a:solidFill>
                  <a:srgbClr val="BB00BB"/>
                </a:solidFill>
                <a:latin typeface="Arial"/>
                <a:cs typeface="Arial"/>
              </a:rPr>
              <a:t>Office </a:t>
            </a:r>
            <a:r>
              <a:rPr sz="1800" b="1" dirty="0">
                <a:latin typeface="Arial"/>
                <a:cs typeface="Arial"/>
              </a:rPr>
              <a:t>is </a:t>
            </a:r>
            <a:r>
              <a:rPr sz="1800" b="1" spc="-5" dirty="0">
                <a:latin typeface="Arial"/>
                <a:cs typeface="Arial"/>
              </a:rPr>
              <a:t>an organizational </a:t>
            </a:r>
            <a:r>
              <a:rPr sz="1800" b="1" dirty="0">
                <a:latin typeface="Arial"/>
                <a:cs typeface="Arial"/>
              </a:rPr>
              <a:t>unit in </a:t>
            </a:r>
            <a:r>
              <a:rPr sz="1800" b="1" spc="-5" dirty="0">
                <a:latin typeface="Arial"/>
                <a:cs typeface="Arial"/>
              </a:rPr>
              <a:t>sales  </a:t>
            </a:r>
            <a:r>
              <a:rPr sz="1800" b="1" dirty="0">
                <a:latin typeface="Arial"/>
                <a:cs typeface="Arial"/>
              </a:rPr>
              <a:t>and distribution </a:t>
            </a:r>
            <a:r>
              <a:rPr sz="1800" b="1" spc="5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is responsible for</a:t>
            </a:r>
            <a:r>
              <a:rPr sz="1800" b="1" spc="-8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ales  </a:t>
            </a:r>
            <a:r>
              <a:rPr sz="1800" b="1" spc="5" dirty="0">
                <a:latin typeface="Arial"/>
                <a:cs typeface="Arial"/>
              </a:rPr>
              <a:t>within </a:t>
            </a:r>
            <a:r>
              <a:rPr sz="1800" b="1" spc="-5" dirty="0">
                <a:latin typeface="Arial"/>
                <a:cs typeface="Arial"/>
              </a:rPr>
              <a:t>a specific geographical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rea.</a:t>
            </a:r>
            <a:endParaRPr sz="1800">
              <a:latin typeface="Arial"/>
              <a:cs typeface="Arial"/>
            </a:endParaRPr>
          </a:p>
          <a:p>
            <a:pPr marL="3184525" marR="762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A sales </a:t>
            </a:r>
            <a:r>
              <a:rPr sz="1800" b="1" dirty="0">
                <a:latin typeface="Arial"/>
                <a:cs typeface="Arial"/>
              </a:rPr>
              <a:t>office </a:t>
            </a:r>
            <a:r>
              <a:rPr sz="1800" b="1" spc="-5" dirty="0">
                <a:latin typeface="Arial"/>
                <a:cs typeface="Arial"/>
              </a:rPr>
              <a:t>can be assigned </a:t>
            </a:r>
            <a:r>
              <a:rPr sz="1800" b="1" dirty="0">
                <a:latin typeface="Arial"/>
                <a:cs typeface="Arial"/>
              </a:rPr>
              <a:t>to one </a:t>
            </a:r>
            <a:r>
              <a:rPr sz="1800" b="1" spc="-5" dirty="0">
                <a:latin typeface="Arial"/>
                <a:cs typeface="Arial"/>
              </a:rPr>
              <a:t>or</a:t>
            </a:r>
            <a:r>
              <a:rPr sz="1800" b="1" spc="-9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ore  </a:t>
            </a:r>
            <a:r>
              <a:rPr sz="1800" b="1" dirty="0">
                <a:latin typeface="Arial"/>
                <a:cs typeface="Arial"/>
              </a:rPr>
              <a:t>distribution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hains.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47700" y="1911095"/>
            <a:ext cx="493775" cy="49987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82600" y="1230249"/>
            <a:ext cx="5269865" cy="747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ts val="1939"/>
              </a:lnSpc>
            </a:pPr>
            <a:r>
              <a:rPr sz="1800" b="1" spc="-5" dirty="0">
                <a:solidFill>
                  <a:srgbClr val="BB00BB"/>
                </a:solidFill>
                <a:latin typeface="Arial"/>
                <a:cs typeface="Arial"/>
              </a:rPr>
              <a:t>Sales </a:t>
            </a:r>
            <a:r>
              <a:rPr sz="1800" b="1" spc="-15" dirty="0">
                <a:solidFill>
                  <a:srgbClr val="BB00BB"/>
                </a:solidFill>
                <a:latin typeface="Arial"/>
                <a:cs typeface="Arial"/>
              </a:rPr>
              <a:t>Area </a:t>
            </a:r>
            <a:r>
              <a:rPr sz="1800" b="1" dirty="0">
                <a:latin typeface="Arial"/>
                <a:cs typeface="Arial"/>
              </a:rPr>
              <a:t>is the combination of a distribution  </a:t>
            </a:r>
            <a:r>
              <a:rPr sz="1800" b="1" spc="-5" dirty="0">
                <a:latin typeface="Arial"/>
                <a:cs typeface="Arial"/>
              </a:rPr>
              <a:t>chain (a sales </a:t>
            </a:r>
            <a:r>
              <a:rPr sz="1800" b="1" dirty="0">
                <a:latin typeface="Arial"/>
                <a:cs typeface="Arial"/>
              </a:rPr>
              <a:t>organization and </a:t>
            </a:r>
            <a:r>
              <a:rPr sz="1800" b="1" spc="-5" dirty="0">
                <a:latin typeface="Arial"/>
                <a:cs typeface="Arial"/>
              </a:rPr>
              <a:t>a</a:t>
            </a:r>
            <a:r>
              <a:rPr sz="1800" b="1" spc="-6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istribution  </a:t>
            </a:r>
            <a:r>
              <a:rPr sz="1800" b="1" spc="-5" dirty="0">
                <a:latin typeface="Arial"/>
                <a:cs typeface="Arial"/>
              </a:rPr>
              <a:t>channel)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5" dirty="0">
                <a:latin typeface="Arial"/>
                <a:cs typeface="Arial"/>
              </a:rPr>
              <a:t>a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ivision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172200" y="1238250"/>
            <a:ext cx="1119187" cy="2857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291451" y="1143000"/>
            <a:ext cx="95250" cy="381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172200" y="1143000"/>
            <a:ext cx="1214501" cy="952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172200" y="1143000"/>
            <a:ext cx="1214755" cy="381000"/>
          </a:xfrm>
          <a:custGeom>
            <a:avLst/>
            <a:gdLst/>
            <a:ahLst/>
            <a:cxnLst/>
            <a:rect l="l" t="t" r="r" b="b"/>
            <a:pathLst>
              <a:path w="1214754" h="381000">
                <a:moveTo>
                  <a:pt x="0" y="95250"/>
                </a:moveTo>
                <a:lnTo>
                  <a:pt x="95250" y="0"/>
                </a:lnTo>
                <a:lnTo>
                  <a:pt x="1214501" y="0"/>
                </a:lnTo>
                <a:lnTo>
                  <a:pt x="1214501" y="285750"/>
                </a:lnTo>
                <a:lnTo>
                  <a:pt x="1119251" y="381000"/>
                </a:lnTo>
                <a:lnTo>
                  <a:pt x="0" y="381000"/>
                </a:lnTo>
                <a:lnTo>
                  <a:pt x="0" y="952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172200" y="1143000"/>
            <a:ext cx="1214755" cy="95250"/>
          </a:xfrm>
          <a:custGeom>
            <a:avLst/>
            <a:gdLst/>
            <a:ahLst/>
            <a:cxnLst/>
            <a:rect l="l" t="t" r="r" b="b"/>
            <a:pathLst>
              <a:path w="1214754" h="95250">
                <a:moveTo>
                  <a:pt x="0" y="95250"/>
                </a:moveTo>
                <a:lnTo>
                  <a:pt x="1119251" y="95250"/>
                </a:lnTo>
                <a:lnTo>
                  <a:pt x="121450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291451" y="1238250"/>
            <a:ext cx="0" cy="285750"/>
          </a:xfrm>
          <a:custGeom>
            <a:avLst/>
            <a:gdLst/>
            <a:ahLst/>
            <a:cxnLst/>
            <a:rect l="l" t="t" r="r" b="b"/>
            <a:pathLst>
              <a:path h="285750">
                <a:moveTo>
                  <a:pt x="0" y="0"/>
                </a:moveTo>
                <a:lnTo>
                  <a:pt x="0" y="2857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237478" y="1261617"/>
            <a:ext cx="107061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Sales</a:t>
            </a:r>
            <a:r>
              <a:rPr sz="1000" spc="-50" dirty="0">
                <a:latin typeface="Georgia"/>
                <a:cs typeface="Georgia"/>
              </a:rPr>
              <a:t> </a:t>
            </a:r>
            <a:r>
              <a:rPr sz="1000" spc="-10" dirty="0">
                <a:latin typeface="Georgia"/>
                <a:cs typeface="Georgia"/>
              </a:rPr>
              <a:t>Organisation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7524750" y="1676400"/>
            <a:ext cx="95250" cy="381000"/>
          </a:xfrm>
          <a:custGeom>
            <a:avLst/>
            <a:gdLst/>
            <a:ahLst/>
            <a:cxnLst/>
            <a:rect l="l" t="t" r="r" b="b"/>
            <a:pathLst>
              <a:path w="95250" h="381000">
                <a:moveTo>
                  <a:pt x="95250" y="0"/>
                </a:moveTo>
                <a:lnTo>
                  <a:pt x="0" y="95250"/>
                </a:lnTo>
                <a:lnTo>
                  <a:pt x="0" y="381000"/>
                </a:lnTo>
                <a:lnTo>
                  <a:pt x="95250" y="285750"/>
                </a:lnTo>
                <a:lnTo>
                  <a:pt x="95250" y="0"/>
                </a:lnTo>
                <a:close/>
              </a:path>
            </a:pathLst>
          </a:custGeom>
          <a:solidFill>
            <a:srgbClr val="B692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24600" y="1676400"/>
            <a:ext cx="1295400" cy="95250"/>
          </a:xfrm>
          <a:custGeom>
            <a:avLst/>
            <a:gdLst/>
            <a:ahLst/>
            <a:cxnLst/>
            <a:rect l="l" t="t" r="r" b="b"/>
            <a:pathLst>
              <a:path w="1295400" h="95250">
                <a:moveTo>
                  <a:pt x="1295400" y="0"/>
                </a:moveTo>
                <a:lnTo>
                  <a:pt x="95250" y="0"/>
                </a:lnTo>
                <a:lnTo>
                  <a:pt x="0" y="95250"/>
                </a:lnTo>
                <a:lnTo>
                  <a:pt x="1200150" y="95250"/>
                </a:lnTo>
                <a:lnTo>
                  <a:pt x="1295400" y="0"/>
                </a:lnTo>
                <a:close/>
              </a:path>
            </a:pathLst>
          </a:custGeom>
          <a:solidFill>
            <a:srgbClr val="E8C53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324600" y="1676400"/>
            <a:ext cx="1295400" cy="381000"/>
          </a:xfrm>
          <a:custGeom>
            <a:avLst/>
            <a:gdLst/>
            <a:ahLst/>
            <a:cxnLst/>
            <a:rect l="l" t="t" r="r" b="b"/>
            <a:pathLst>
              <a:path w="1295400" h="381000">
                <a:moveTo>
                  <a:pt x="0" y="95250"/>
                </a:moveTo>
                <a:lnTo>
                  <a:pt x="95250" y="0"/>
                </a:lnTo>
                <a:lnTo>
                  <a:pt x="1295400" y="0"/>
                </a:lnTo>
                <a:lnTo>
                  <a:pt x="1295400" y="285750"/>
                </a:lnTo>
                <a:lnTo>
                  <a:pt x="1200150" y="381000"/>
                </a:lnTo>
                <a:lnTo>
                  <a:pt x="0" y="381000"/>
                </a:lnTo>
                <a:lnTo>
                  <a:pt x="0" y="95250"/>
                </a:lnTo>
                <a:close/>
              </a:path>
            </a:pathLst>
          </a:custGeom>
          <a:ln w="12700">
            <a:solidFill>
              <a:srgbClr val="E1B7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324600" y="1676400"/>
            <a:ext cx="1295400" cy="95250"/>
          </a:xfrm>
          <a:custGeom>
            <a:avLst/>
            <a:gdLst/>
            <a:ahLst/>
            <a:cxnLst/>
            <a:rect l="l" t="t" r="r" b="b"/>
            <a:pathLst>
              <a:path w="1295400" h="95250">
                <a:moveTo>
                  <a:pt x="0" y="95250"/>
                </a:moveTo>
                <a:lnTo>
                  <a:pt x="1200150" y="95250"/>
                </a:lnTo>
                <a:lnTo>
                  <a:pt x="1295400" y="0"/>
                </a:lnTo>
              </a:path>
            </a:pathLst>
          </a:custGeom>
          <a:ln w="12700">
            <a:solidFill>
              <a:srgbClr val="E1B7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6324600" y="1771650"/>
            <a:ext cx="1206500" cy="285750"/>
          </a:xfrm>
          <a:prstGeom prst="rect">
            <a:avLst/>
          </a:prstGeom>
          <a:solidFill>
            <a:srgbClr val="E1B700"/>
          </a:solidFill>
        </p:spPr>
        <p:txBody>
          <a:bodyPr vert="horz" wrap="square" lIns="0" tIns="63500" rIns="0" bIns="0" rtlCol="0">
            <a:spAutoFit/>
          </a:bodyPr>
          <a:lstStyle/>
          <a:p>
            <a:pPr marL="10160">
              <a:lnSpc>
                <a:spcPct val="100000"/>
              </a:lnSpc>
              <a:spcBef>
                <a:spcPts val="500"/>
              </a:spcBef>
            </a:pPr>
            <a:r>
              <a:rPr sz="1000" spc="-5" dirty="0">
                <a:latin typeface="Georgia"/>
                <a:cs typeface="Georgia"/>
              </a:rPr>
              <a:t>Distribution</a:t>
            </a:r>
            <a:r>
              <a:rPr sz="1000" spc="-90" dirty="0">
                <a:latin typeface="Georgia"/>
                <a:cs typeface="Georgia"/>
              </a:rPr>
              <a:t> </a:t>
            </a:r>
            <a:r>
              <a:rPr sz="1000" spc="-5" dirty="0">
                <a:latin typeface="Georgia"/>
                <a:cs typeface="Georgia"/>
              </a:rPr>
              <a:t>Channel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162800" y="2305050"/>
            <a:ext cx="1119187" cy="2857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282051" y="2209800"/>
            <a:ext cx="95250" cy="3810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162800" y="2209800"/>
            <a:ext cx="1214501" cy="9525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162800" y="2209800"/>
            <a:ext cx="1214755" cy="381000"/>
          </a:xfrm>
          <a:custGeom>
            <a:avLst/>
            <a:gdLst/>
            <a:ahLst/>
            <a:cxnLst/>
            <a:rect l="l" t="t" r="r" b="b"/>
            <a:pathLst>
              <a:path w="1214754" h="381000">
                <a:moveTo>
                  <a:pt x="0" y="95250"/>
                </a:moveTo>
                <a:lnTo>
                  <a:pt x="95250" y="0"/>
                </a:lnTo>
                <a:lnTo>
                  <a:pt x="1214501" y="0"/>
                </a:lnTo>
                <a:lnTo>
                  <a:pt x="1214501" y="285750"/>
                </a:lnTo>
                <a:lnTo>
                  <a:pt x="1119251" y="381000"/>
                </a:lnTo>
                <a:lnTo>
                  <a:pt x="0" y="381000"/>
                </a:lnTo>
                <a:lnTo>
                  <a:pt x="0" y="952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162800" y="2209800"/>
            <a:ext cx="1214755" cy="95250"/>
          </a:xfrm>
          <a:custGeom>
            <a:avLst/>
            <a:gdLst/>
            <a:ahLst/>
            <a:cxnLst/>
            <a:rect l="l" t="t" r="r" b="b"/>
            <a:pathLst>
              <a:path w="1214754" h="95250">
                <a:moveTo>
                  <a:pt x="0" y="95250"/>
                </a:moveTo>
                <a:lnTo>
                  <a:pt x="1119251" y="95250"/>
                </a:lnTo>
                <a:lnTo>
                  <a:pt x="121450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8282051" y="2305050"/>
            <a:ext cx="0" cy="285750"/>
          </a:xfrm>
          <a:custGeom>
            <a:avLst/>
            <a:gdLst/>
            <a:ahLst/>
            <a:cxnLst/>
            <a:rect l="l" t="t" r="r" b="b"/>
            <a:pathLst>
              <a:path h="285750">
                <a:moveTo>
                  <a:pt x="0" y="0"/>
                </a:moveTo>
                <a:lnTo>
                  <a:pt x="0" y="2857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7477759" y="2368677"/>
            <a:ext cx="49022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Georgia"/>
                <a:cs typeface="Georgia"/>
              </a:rPr>
              <a:t>Division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58000" y="1447800"/>
            <a:ext cx="76200" cy="304800"/>
          </a:xfrm>
          <a:custGeom>
            <a:avLst/>
            <a:gdLst/>
            <a:ahLst/>
            <a:cxnLst/>
            <a:rect l="l" t="t" r="r" b="b"/>
            <a:pathLst>
              <a:path w="76200" h="304800">
                <a:moveTo>
                  <a:pt x="76200" y="228600"/>
                </a:moveTo>
                <a:lnTo>
                  <a:pt x="0" y="228600"/>
                </a:lnTo>
                <a:lnTo>
                  <a:pt x="38100" y="304800"/>
                </a:lnTo>
                <a:lnTo>
                  <a:pt x="76200" y="228600"/>
                </a:lnTo>
                <a:close/>
              </a:path>
              <a:path w="76200" h="304800">
                <a:moveTo>
                  <a:pt x="57150" y="0"/>
                </a:moveTo>
                <a:lnTo>
                  <a:pt x="19050" y="0"/>
                </a:lnTo>
                <a:lnTo>
                  <a:pt x="19050" y="228600"/>
                </a:lnTo>
                <a:lnTo>
                  <a:pt x="57150" y="228600"/>
                </a:lnTo>
                <a:lnTo>
                  <a:pt x="57150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858000" y="1447800"/>
            <a:ext cx="76200" cy="304800"/>
          </a:xfrm>
          <a:custGeom>
            <a:avLst/>
            <a:gdLst/>
            <a:ahLst/>
            <a:cxnLst/>
            <a:rect l="l" t="t" r="r" b="b"/>
            <a:pathLst>
              <a:path w="76200" h="304800">
                <a:moveTo>
                  <a:pt x="0" y="228600"/>
                </a:moveTo>
                <a:lnTo>
                  <a:pt x="19050" y="228600"/>
                </a:lnTo>
                <a:lnTo>
                  <a:pt x="19050" y="0"/>
                </a:lnTo>
                <a:lnTo>
                  <a:pt x="57150" y="0"/>
                </a:lnTo>
                <a:lnTo>
                  <a:pt x="57150" y="228600"/>
                </a:lnTo>
                <a:lnTo>
                  <a:pt x="76200" y="228600"/>
                </a:lnTo>
                <a:lnTo>
                  <a:pt x="38100" y="304800"/>
                </a:lnTo>
                <a:lnTo>
                  <a:pt x="0" y="228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315200" y="2057400"/>
            <a:ext cx="76200" cy="304800"/>
          </a:xfrm>
          <a:custGeom>
            <a:avLst/>
            <a:gdLst/>
            <a:ahLst/>
            <a:cxnLst/>
            <a:rect l="l" t="t" r="r" b="b"/>
            <a:pathLst>
              <a:path w="76200" h="304800">
                <a:moveTo>
                  <a:pt x="76200" y="228600"/>
                </a:moveTo>
                <a:lnTo>
                  <a:pt x="0" y="228600"/>
                </a:lnTo>
                <a:lnTo>
                  <a:pt x="38100" y="304800"/>
                </a:lnTo>
                <a:lnTo>
                  <a:pt x="76200" y="228600"/>
                </a:lnTo>
                <a:close/>
              </a:path>
              <a:path w="76200" h="304800">
                <a:moveTo>
                  <a:pt x="57150" y="0"/>
                </a:moveTo>
                <a:lnTo>
                  <a:pt x="19050" y="0"/>
                </a:lnTo>
                <a:lnTo>
                  <a:pt x="19050" y="228600"/>
                </a:lnTo>
                <a:lnTo>
                  <a:pt x="57150" y="228600"/>
                </a:lnTo>
                <a:lnTo>
                  <a:pt x="57150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315200" y="2057400"/>
            <a:ext cx="76200" cy="304800"/>
          </a:xfrm>
          <a:custGeom>
            <a:avLst/>
            <a:gdLst/>
            <a:ahLst/>
            <a:cxnLst/>
            <a:rect l="l" t="t" r="r" b="b"/>
            <a:pathLst>
              <a:path w="76200" h="304800">
                <a:moveTo>
                  <a:pt x="0" y="228600"/>
                </a:moveTo>
                <a:lnTo>
                  <a:pt x="19050" y="228600"/>
                </a:lnTo>
                <a:lnTo>
                  <a:pt x="19050" y="0"/>
                </a:lnTo>
                <a:lnTo>
                  <a:pt x="57150" y="0"/>
                </a:lnTo>
                <a:lnTo>
                  <a:pt x="57150" y="228600"/>
                </a:lnTo>
                <a:lnTo>
                  <a:pt x="76200" y="228600"/>
                </a:lnTo>
                <a:lnTo>
                  <a:pt x="38100" y="304800"/>
                </a:lnTo>
                <a:lnTo>
                  <a:pt x="0" y="228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96087" y="2196210"/>
            <a:ext cx="2694051" cy="26940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535940" y="5236464"/>
            <a:ext cx="437959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BB00BB"/>
                </a:solidFill>
                <a:latin typeface="Arial"/>
                <a:cs typeface="Arial"/>
              </a:rPr>
              <a:t>Sales </a:t>
            </a:r>
            <a:r>
              <a:rPr sz="1800" b="1" dirty="0">
                <a:solidFill>
                  <a:srgbClr val="BB00BB"/>
                </a:solidFill>
                <a:latin typeface="Arial"/>
                <a:cs typeface="Arial"/>
              </a:rPr>
              <a:t>Group </a:t>
            </a:r>
            <a:r>
              <a:rPr sz="1800" b="1" spc="-5" dirty="0">
                <a:latin typeface="Arial"/>
                <a:cs typeface="Arial"/>
              </a:rPr>
              <a:t>i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staff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a Sales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ffice</a:t>
            </a:r>
            <a:endParaRPr sz="18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5637944" y="5631406"/>
            <a:ext cx="321945" cy="153035"/>
          </a:xfrm>
          <a:custGeom>
            <a:avLst/>
            <a:gdLst/>
            <a:ahLst/>
            <a:cxnLst/>
            <a:rect l="l" t="t" r="r" b="b"/>
            <a:pathLst>
              <a:path w="321945" h="153035">
                <a:moveTo>
                  <a:pt x="215273" y="0"/>
                </a:moveTo>
                <a:lnTo>
                  <a:pt x="0" y="86228"/>
                </a:lnTo>
                <a:lnTo>
                  <a:pt x="13699" y="152866"/>
                </a:lnTo>
                <a:lnTo>
                  <a:pt x="63601" y="129342"/>
                </a:lnTo>
                <a:lnTo>
                  <a:pt x="46964" y="119547"/>
                </a:lnTo>
                <a:lnTo>
                  <a:pt x="321926" y="26454"/>
                </a:lnTo>
                <a:lnTo>
                  <a:pt x="215273" y="0"/>
                </a:lnTo>
                <a:close/>
              </a:path>
            </a:pathLst>
          </a:custGeom>
          <a:solidFill>
            <a:srgbClr val="F5DE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883570" y="5585354"/>
            <a:ext cx="655955" cy="311785"/>
          </a:xfrm>
          <a:custGeom>
            <a:avLst/>
            <a:gdLst/>
            <a:ahLst/>
            <a:cxnLst/>
            <a:rect l="l" t="t" r="r" b="b"/>
            <a:pathLst>
              <a:path w="655954" h="311785">
                <a:moveTo>
                  <a:pt x="221108" y="0"/>
                </a:moveTo>
                <a:lnTo>
                  <a:pt x="0" y="16659"/>
                </a:lnTo>
                <a:lnTo>
                  <a:pt x="5844" y="102887"/>
                </a:lnTo>
                <a:lnTo>
                  <a:pt x="95901" y="139145"/>
                </a:lnTo>
                <a:lnTo>
                  <a:pt x="350349" y="208713"/>
                </a:lnTo>
                <a:lnTo>
                  <a:pt x="350349" y="294941"/>
                </a:lnTo>
                <a:lnTo>
                  <a:pt x="446168" y="311601"/>
                </a:lnTo>
                <a:lnTo>
                  <a:pt x="593911" y="198918"/>
                </a:lnTo>
                <a:lnTo>
                  <a:pt x="366977" y="198918"/>
                </a:lnTo>
                <a:lnTo>
                  <a:pt x="340553" y="155796"/>
                </a:lnTo>
                <a:lnTo>
                  <a:pt x="317009" y="129342"/>
                </a:lnTo>
                <a:lnTo>
                  <a:pt x="307296" y="96031"/>
                </a:lnTo>
                <a:lnTo>
                  <a:pt x="307296" y="59773"/>
                </a:lnTo>
                <a:lnTo>
                  <a:pt x="343434" y="29392"/>
                </a:lnTo>
                <a:lnTo>
                  <a:pt x="221108" y="0"/>
                </a:lnTo>
                <a:close/>
              </a:path>
              <a:path w="655954" h="311785">
                <a:moveTo>
                  <a:pt x="655587" y="151878"/>
                </a:moveTo>
                <a:lnTo>
                  <a:pt x="366977" y="198918"/>
                </a:lnTo>
                <a:lnTo>
                  <a:pt x="593911" y="198918"/>
                </a:lnTo>
                <a:lnTo>
                  <a:pt x="655587" y="151878"/>
                </a:lnTo>
                <a:close/>
              </a:path>
            </a:pathLst>
          </a:custGeom>
          <a:solidFill>
            <a:srgbClr val="F5DE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191779" y="5804850"/>
            <a:ext cx="2298065" cy="354965"/>
          </a:xfrm>
          <a:custGeom>
            <a:avLst/>
            <a:gdLst/>
            <a:ahLst/>
            <a:cxnLst/>
            <a:rect l="l" t="t" r="r" b="b"/>
            <a:pathLst>
              <a:path w="2298065" h="354964">
                <a:moveTo>
                  <a:pt x="336585" y="0"/>
                </a:moveTo>
                <a:lnTo>
                  <a:pt x="95893" y="92104"/>
                </a:lnTo>
                <a:lnTo>
                  <a:pt x="0" y="165599"/>
                </a:lnTo>
                <a:lnTo>
                  <a:pt x="615481" y="347853"/>
                </a:lnTo>
                <a:lnTo>
                  <a:pt x="1122318" y="354712"/>
                </a:lnTo>
                <a:lnTo>
                  <a:pt x="1638046" y="324336"/>
                </a:lnTo>
                <a:lnTo>
                  <a:pt x="1900232" y="288081"/>
                </a:lnTo>
                <a:lnTo>
                  <a:pt x="2021482" y="238106"/>
                </a:lnTo>
                <a:lnTo>
                  <a:pt x="1508888" y="238106"/>
                </a:lnTo>
                <a:lnTo>
                  <a:pt x="1313573" y="197930"/>
                </a:lnTo>
                <a:lnTo>
                  <a:pt x="612518" y="197930"/>
                </a:lnTo>
                <a:lnTo>
                  <a:pt x="330740" y="48990"/>
                </a:lnTo>
                <a:lnTo>
                  <a:pt x="336585" y="0"/>
                </a:lnTo>
                <a:close/>
              </a:path>
              <a:path w="2298065" h="354964">
                <a:moveTo>
                  <a:pt x="2128255" y="18610"/>
                </a:moveTo>
                <a:lnTo>
                  <a:pt x="1728021" y="142075"/>
                </a:lnTo>
                <a:lnTo>
                  <a:pt x="1508888" y="238106"/>
                </a:lnTo>
                <a:lnTo>
                  <a:pt x="2021482" y="238106"/>
                </a:lnTo>
                <a:lnTo>
                  <a:pt x="2237821" y="148940"/>
                </a:lnTo>
                <a:lnTo>
                  <a:pt x="2297502" y="62712"/>
                </a:lnTo>
                <a:lnTo>
                  <a:pt x="2128255" y="18610"/>
                </a:lnTo>
                <a:close/>
              </a:path>
              <a:path w="2298065" h="354964">
                <a:moveTo>
                  <a:pt x="912899" y="118559"/>
                </a:moveTo>
                <a:lnTo>
                  <a:pt x="612518" y="197930"/>
                </a:lnTo>
                <a:lnTo>
                  <a:pt x="1313573" y="197930"/>
                </a:lnTo>
                <a:lnTo>
                  <a:pt x="1184963" y="171476"/>
                </a:lnTo>
                <a:lnTo>
                  <a:pt x="912899" y="118559"/>
                </a:lnTo>
                <a:close/>
              </a:path>
            </a:pathLst>
          </a:custGeom>
          <a:solidFill>
            <a:srgbClr val="F5DE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597825" y="4223345"/>
            <a:ext cx="2908084" cy="189016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5705855" y="291084"/>
            <a:ext cx="729996" cy="7391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600" dirty="0"/>
              <a:t>Organisational Structure -</a:t>
            </a:r>
            <a:r>
              <a:rPr sz="3600" spc="-135" dirty="0"/>
              <a:t> </a:t>
            </a:r>
            <a:r>
              <a:rPr sz="3600" dirty="0"/>
              <a:t>Definition</a:t>
            </a:r>
            <a:endParaRPr sz="3600"/>
          </a:p>
        </p:txBody>
      </p:sp>
      <p:sp>
        <p:nvSpPr>
          <p:cNvPr id="8" name="object 8"/>
          <p:cNvSpPr txBox="1"/>
          <p:nvPr/>
        </p:nvSpPr>
        <p:spPr>
          <a:xfrm>
            <a:off x="339648" y="1468628"/>
            <a:ext cx="4398010" cy="137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000"/>
              </a:lnSpc>
            </a:pPr>
            <a:r>
              <a:rPr sz="2800" b="1" spc="-5" dirty="0">
                <a:solidFill>
                  <a:srgbClr val="BB00BB"/>
                </a:solidFill>
                <a:latin typeface="Arial"/>
                <a:cs typeface="Arial"/>
              </a:rPr>
              <a:t>Plant </a:t>
            </a:r>
            <a:r>
              <a:rPr sz="2800" b="1" spc="-5" dirty="0">
                <a:latin typeface="Arial"/>
                <a:cs typeface="Arial"/>
              </a:rPr>
              <a:t>is a place where  </a:t>
            </a:r>
            <a:r>
              <a:rPr sz="2800" b="1" dirty="0">
                <a:latin typeface="Arial"/>
                <a:cs typeface="Arial"/>
              </a:rPr>
              <a:t>materials are </a:t>
            </a:r>
            <a:r>
              <a:rPr sz="2800" b="1" spc="-5" dirty="0">
                <a:latin typeface="Arial"/>
                <a:cs typeface="Arial"/>
              </a:rPr>
              <a:t>produced</a:t>
            </a:r>
            <a:r>
              <a:rPr sz="2800" b="1" spc="-40" dirty="0">
                <a:latin typeface="Arial"/>
                <a:cs typeface="Arial"/>
              </a:rPr>
              <a:t> </a:t>
            </a:r>
            <a:r>
              <a:rPr sz="2800" b="1" spc="-5" dirty="0">
                <a:latin typeface="Arial"/>
                <a:cs typeface="Arial"/>
              </a:rPr>
              <a:t>or  </a:t>
            </a:r>
            <a:r>
              <a:rPr sz="2800" b="1" dirty="0">
                <a:latin typeface="Arial"/>
                <a:cs typeface="Arial"/>
              </a:rPr>
              <a:t>stored, </a:t>
            </a:r>
            <a:r>
              <a:rPr sz="2800" b="1" spc="-5" dirty="0">
                <a:latin typeface="Arial"/>
                <a:cs typeface="Arial"/>
              </a:rPr>
              <a:t>or goods and  </a:t>
            </a:r>
            <a:r>
              <a:rPr sz="2800" b="1" dirty="0">
                <a:latin typeface="Arial"/>
                <a:cs typeface="Arial"/>
              </a:rPr>
              <a:t>services are</a:t>
            </a:r>
            <a:r>
              <a:rPr sz="2800" b="1" spc="-55" dirty="0">
                <a:latin typeface="Arial"/>
                <a:cs typeface="Arial"/>
              </a:rPr>
              <a:t> </a:t>
            </a:r>
            <a:r>
              <a:rPr sz="2800" b="1" spc="-5" dirty="0">
                <a:latin typeface="Arial"/>
                <a:cs typeface="Arial"/>
              </a:rPr>
              <a:t>provided</a:t>
            </a:r>
            <a:endParaRPr sz="2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644900" y="4229989"/>
            <a:ext cx="5059680" cy="1838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400" b="1" spc="-5" dirty="0">
                <a:solidFill>
                  <a:srgbClr val="BB00BB"/>
                </a:solidFill>
                <a:latin typeface="Arial"/>
                <a:cs typeface="Arial"/>
              </a:rPr>
              <a:t>Shipping </a:t>
            </a:r>
            <a:r>
              <a:rPr sz="2400" b="1" dirty="0">
                <a:solidFill>
                  <a:srgbClr val="BB00BB"/>
                </a:solidFill>
                <a:latin typeface="Arial"/>
                <a:cs typeface="Arial"/>
              </a:rPr>
              <a:t>Point </a:t>
            </a:r>
            <a:r>
              <a:rPr sz="2400" b="1" spc="-5" dirty="0">
                <a:latin typeface="Arial"/>
                <a:cs typeface="Arial"/>
              </a:rPr>
              <a:t>is responsible for  scheduling, processing </a:t>
            </a:r>
            <a:r>
              <a:rPr sz="2400" b="1" dirty="0">
                <a:latin typeface="Arial"/>
                <a:cs typeface="Arial"/>
              </a:rPr>
              <a:t>and  monitoring of </a:t>
            </a:r>
            <a:r>
              <a:rPr sz="2400" b="1" spc="-5" dirty="0">
                <a:latin typeface="Arial"/>
                <a:cs typeface="Arial"/>
              </a:rPr>
              <a:t>inbound &amp;</a:t>
            </a:r>
            <a:r>
              <a:rPr sz="2400" b="1" spc="-114" dirty="0">
                <a:latin typeface="Arial"/>
                <a:cs typeface="Arial"/>
              </a:rPr>
              <a:t> </a:t>
            </a:r>
            <a:r>
              <a:rPr sz="2400" b="1" spc="-5" dirty="0">
                <a:latin typeface="Arial"/>
                <a:cs typeface="Arial"/>
              </a:rPr>
              <a:t>outbound  deliveries, </a:t>
            </a:r>
            <a:r>
              <a:rPr sz="2400" b="1" dirty="0">
                <a:latin typeface="Arial"/>
                <a:cs typeface="Arial"/>
              </a:rPr>
              <a:t>as </a:t>
            </a:r>
            <a:r>
              <a:rPr sz="2400" b="1" spc="5" dirty="0">
                <a:latin typeface="Arial"/>
                <a:cs typeface="Arial"/>
              </a:rPr>
              <a:t>well </a:t>
            </a:r>
            <a:r>
              <a:rPr sz="2400" b="1" dirty="0">
                <a:latin typeface="Arial"/>
                <a:cs typeface="Arial"/>
              </a:rPr>
              <a:t>as for </a:t>
            </a:r>
            <a:r>
              <a:rPr sz="2400" b="1" spc="-5" dirty="0">
                <a:latin typeface="Arial"/>
                <a:cs typeface="Arial"/>
              </a:rPr>
              <a:t>carrying  </a:t>
            </a:r>
            <a:r>
              <a:rPr sz="2400" b="1" dirty="0">
                <a:latin typeface="Arial"/>
                <a:cs typeface="Arial"/>
              </a:rPr>
              <a:t>out </a:t>
            </a:r>
            <a:r>
              <a:rPr sz="2400" b="1" spc="-5" dirty="0">
                <a:latin typeface="Arial"/>
                <a:cs typeface="Arial"/>
              </a:rPr>
              <a:t>goods</a:t>
            </a:r>
            <a:r>
              <a:rPr sz="2400" b="1" spc="-90" dirty="0">
                <a:latin typeface="Arial"/>
                <a:cs typeface="Arial"/>
              </a:rPr>
              <a:t> </a:t>
            </a:r>
            <a:r>
              <a:rPr sz="2400" b="1" spc="-5" dirty="0">
                <a:latin typeface="Arial"/>
                <a:cs typeface="Arial"/>
              </a:rPr>
              <a:t>issue.</a:t>
            </a:r>
            <a:endParaRPr sz="2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8600" y="3712590"/>
            <a:ext cx="3161828" cy="173470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105400" y="1143000"/>
            <a:ext cx="2590800" cy="25908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7527035" y="306324"/>
            <a:ext cx="652272" cy="6614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200" dirty="0"/>
              <a:t>Organisational Structure -</a:t>
            </a:r>
            <a:r>
              <a:rPr sz="3200" spc="-290" dirty="0"/>
              <a:t> </a:t>
            </a:r>
            <a:r>
              <a:rPr sz="3200" dirty="0"/>
              <a:t>Assignment</a:t>
            </a:r>
            <a:endParaRPr sz="3200"/>
          </a:p>
        </p:txBody>
      </p:sp>
      <p:sp>
        <p:nvSpPr>
          <p:cNvPr id="8" name="object 8"/>
          <p:cNvSpPr txBox="1"/>
          <p:nvPr/>
        </p:nvSpPr>
        <p:spPr>
          <a:xfrm>
            <a:off x="335596" y="4029819"/>
            <a:ext cx="8472805" cy="215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346710">
              <a:lnSpc>
                <a:spcPct val="80000"/>
              </a:lnSpc>
            </a:pPr>
            <a:r>
              <a:rPr sz="1300" b="1" spc="-5" dirty="0">
                <a:latin typeface="Arial"/>
                <a:cs typeface="Arial"/>
              </a:rPr>
              <a:t>Organisational </a:t>
            </a:r>
            <a:r>
              <a:rPr sz="1300" b="1" spc="-10" dirty="0">
                <a:latin typeface="Arial"/>
                <a:cs typeface="Arial"/>
              </a:rPr>
              <a:t>Units </a:t>
            </a:r>
            <a:r>
              <a:rPr sz="1300" b="1" spc="-5" dirty="0">
                <a:latin typeface="Arial"/>
                <a:cs typeface="Arial"/>
              </a:rPr>
              <a:t>defined in </a:t>
            </a:r>
            <a:r>
              <a:rPr sz="1300" b="1" spc="-10" dirty="0">
                <a:latin typeface="Arial"/>
                <a:cs typeface="Arial"/>
              </a:rPr>
              <a:t>Sales and Distribution </a:t>
            </a:r>
            <a:r>
              <a:rPr sz="1300" b="1" spc="-5" dirty="0">
                <a:latin typeface="Arial"/>
                <a:cs typeface="Arial"/>
              </a:rPr>
              <a:t>Module need to be logically </a:t>
            </a:r>
            <a:r>
              <a:rPr sz="1300" b="1" spc="-10" dirty="0">
                <a:latin typeface="Arial"/>
                <a:cs typeface="Arial"/>
              </a:rPr>
              <a:t>assigned </a:t>
            </a:r>
            <a:r>
              <a:rPr sz="1300" b="1" spc="-5" dirty="0">
                <a:latin typeface="Arial"/>
                <a:cs typeface="Arial"/>
              </a:rPr>
              <a:t>to one  another to form a proper</a:t>
            </a:r>
            <a:r>
              <a:rPr sz="1300" b="1" spc="40" dirty="0">
                <a:latin typeface="Arial"/>
                <a:cs typeface="Arial"/>
              </a:rPr>
              <a:t> </a:t>
            </a:r>
            <a:r>
              <a:rPr sz="1300" b="1" spc="-15" dirty="0">
                <a:latin typeface="Arial"/>
                <a:cs typeface="Arial"/>
              </a:rPr>
              <a:t>hierarchy.</a:t>
            </a:r>
            <a:endParaRPr sz="13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sz="1300" b="1" spc="-5" dirty="0">
                <a:latin typeface="Arial"/>
                <a:cs typeface="Arial"/>
              </a:rPr>
              <a:t>Rules for</a:t>
            </a:r>
            <a:r>
              <a:rPr sz="1300" b="1" spc="-95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Assignment:</a:t>
            </a:r>
            <a:endParaRPr sz="1300" dirty="0">
              <a:latin typeface="Arial"/>
              <a:cs typeface="Arial"/>
            </a:endParaRPr>
          </a:p>
          <a:p>
            <a:pPr marL="355600" marR="294640" indent="-342900">
              <a:lnSpc>
                <a:spcPts val="1250"/>
              </a:lnSpc>
              <a:spcBef>
                <a:spcPts val="3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300" b="1" spc="-5" dirty="0">
                <a:latin typeface="Arial"/>
                <a:cs typeface="Arial"/>
              </a:rPr>
              <a:t>One or more Sales Organisations can be assigned to a Company Code but each Sales Organization  belongs to one &amp; </a:t>
            </a:r>
            <a:r>
              <a:rPr sz="1300" b="1" dirty="0">
                <a:latin typeface="Arial"/>
                <a:cs typeface="Arial"/>
              </a:rPr>
              <a:t>only </a:t>
            </a:r>
            <a:r>
              <a:rPr sz="1300" b="1" spc="-5" dirty="0">
                <a:latin typeface="Arial"/>
                <a:cs typeface="Arial"/>
              </a:rPr>
              <a:t>one company</a:t>
            </a:r>
            <a:r>
              <a:rPr sz="1300" b="1" spc="110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code.</a:t>
            </a:r>
            <a:endParaRPr sz="1300" dirty="0">
              <a:latin typeface="Arial"/>
              <a:cs typeface="Arial"/>
            </a:endParaRPr>
          </a:p>
          <a:p>
            <a:pPr marL="355600" marR="443230" indent="-342900">
              <a:lnSpc>
                <a:spcPts val="1250"/>
              </a:lnSpc>
              <a:spcBef>
                <a:spcPts val="309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300" b="1" spc="-5" dirty="0">
                <a:latin typeface="Arial"/>
                <a:cs typeface="Arial"/>
              </a:rPr>
              <a:t>One or more Plant can be assigned to a Company Code but each Plant belongs to one &amp; </a:t>
            </a:r>
            <a:r>
              <a:rPr sz="1300" b="1" dirty="0">
                <a:latin typeface="Arial"/>
                <a:cs typeface="Arial"/>
              </a:rPr>
              <a:t>only </a:t>
            </a:r>
            <a:r>
              <a:rPr sz="1300" b="1" spc="-5" dirty="0">
                <a:latin typeface="Arial"/>
                <a:cs typeface="Arial"/>
              </a:rPr>
              <a:t>one  company</a:t>
            </a:r>
            <a:r>
              <a:rPr sz="1300" b="1" spc="-55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code.</a:t>
            </a:r>
            <a:endParaRPr sz="13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300" b="1" spc="-5" dirty="0">
                <a:latin typeface="Arial"/>
                <a:cs typeface="Arial"/>
              </a:rPr>
              <a:t>One or more combination of Sales Organisation and Distributional Channel can be assigned to a </a:t>
            </a:r>
            <a:r>
              <a:rPr sz="1300" b="1" spc="170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Plant.</a:t>
            </a:r>
            <a:endParaRPr sz="1300" dirty="0">
              <a:latin typeface="Arial"/>
              <a:cs typeface="Arial"/>
            </a:endParaRPr>
          </a:p>
          <a:p>
            <a:pPr marL="355600" marR="292100" indent="-342900">
              <a:lnSpc>
                <a:spcPct val="80000"/>
              </a:lnSpc>
              <a:spcBef>
                <a:spcPts val="31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300" b="1" spc="-5" dirty="0">
                <a:latin typeface="Arial"/>
                <a:cs typeface="Arial"/>
              </a:rPr>
              <a:t>If the Plant and Sales Organization belong to different company codes then the Sales transaction is  categorized as</a:t>
            </a:r>
            <a:r>
              <a:rPr sz="1300" b="1" spc="25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Inter-company</a:t>
            </a:r>
            <a:endParaRPr sz="1300" dirty="0">
              <a:latin typeface="Arial"/>
              <a:cs typeface="Arial"/>
            </a:endParaRPr>
          </a:p>
          <a:p>
            <a:pPr marL="355600" marR="5080" indent="-342900">
              <a:lnSpc>
                <a:spcPct val="80000"/>
              </a:lnSpc>
              <a:spcBef>
                <a:spcPts val="31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300" b="1" spc="-5" dirty="0">
                <a:latin typeface="Arial"/>
                <a:cs typeface="Arial"/>
              </a:rPr>
              <a:t>One or more Shipping Points can be assigned to a Plant. </a:t>
            </a:r>
            <a:r>
              <a:rPr sz="1300" b="1" spc="-15" dirty="0">
                <a:latin typeface="Arial"/>
                <a:cs typeface="Arial"/>
              </a:rPr>
              <a:t>Similarly, </a:t>
            </a:r>
            <a:r>
              <a:rPr sz="1300" b="1" spc="-5" dirty="0">
                <a:latin typeface="Arial"/>
                <a:cs typeface="Arial"/>
              </a:rPr>
              <a:t>one or more Plants can be assigned  to a Shipping</a:t>
            </a:r>
            <a:r>
              <a:rPr sz="1300" b="1" spc="5" dirty="0">
                <a:latin typeface="Arial"/>
                <a:cs typeface="Arial"/>
              </a:rPr>
              <a:t> </a:t>
            </a:r>
            <a:r>
              <a:rPr sz="1300" b="1" spc="-5" dirty="0">
                <a:latin typeface="Arial"/>
                <a:cs typeface="Arial"/>
              </a:rPr>
              <a:t>Point.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833562" y="1143000"/>
            <a:ext cx="5476875" cy="2743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6886956" y="306324"/>
            <a:ext cx="652272" cy="6614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200" dirty="0"/>
              <a:t>Organisational Structure -</a:t>
            </a:r>
            <a:r>
              <a:rPr sz="3200" spc="-175" dirty="0"/>
              <a:t> </a:t>
            </a:r>
            <a:r>
              <a:rPr sz="3200" dirty="0"/>
              <a:t>Example</a:t>
            </a:r>
            <a:endParaRPr sz="3200"/>
          </a:p>
        </p:txBody>
      </p:sp>
      <p:sp>
        <p:nvSpPr>
          <p:cNvPr id="8" name="object 8"/>
          <p:cNvSpPr txBox="1"/>
          <p:nvPr/>
        </p:nvSpPr>
        <p:spPr>
          <a:xfrm>
            <a:off x="577582" y="1449767"/>
            <a:ext cx="5353685" cy="274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584700" algn="l"/>
              </a:tabLst>
            </a:pPr>
            <a:r>
              <a:rPr sz="1800" b="1" spc="-5" dirty="0">
                <a:latin typeface="Arial"/>
                <a:cs typeface="Arial"/>
              </a:rPr>
              <a:t>Define	</a:t>
            </a:r>
            <a:r>
              <a:rPr sz="1800" b="1" spc="-15" dirty="0">
                <a:latin typeface="Arial"/>
                <a:cs typeface="Arial"/>
              </a:rPr>
              <a:t>Assig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44500" y="5417515"/>
            <a:ext cx="8181975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Menu </a:t>
            </a:r>
            <a:r>
              <a:rPr sz="1800" b="1" spc="-5" dirty="0">
                <a:latin typeface="Arial"/>
                <a:cs typeface="Arial"/>
              </a:rPr>
              <a:t>Path </a:t>
            </a:r>
            <a:r>
              <a:rPr sz="1800" b="1" dirty="0">
                <a:latin typeface="Arial"/>
                <a:cs typeface="Arial"/>
              </a:rPr>
              <a:t>for</a:t>
            </a:r>
            <a:r>
              <a:rPr sz="1800" b="1" spc="-9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Configuration:</a:t>
            </a:r>
            <a:endParaRPr sz="1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Display </a:t>
            </a:r>
            <a:r>
              <a:rPr sz="1800" b="1" dirty="0">
                <a:latin typeface="Arial"/>
                <a:cs typeface="Arial"/>
              </a:rPr>
              <a:t>IMG</a:t>
            </a:r>
            <a:r>
              <a:rPr sz="1800" b="1" dirty="0">
                <a:latin typeface="Wingdings"/>
                <a:cs typeface="Wingdings"/>
              </a:rPr>
              <a:t></a:t>
            </a:r>
            <a:r>
              <a:rPr sz="1800" b="1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Enterprise Structure</a:t>
            </a:r>
            <a:r>
              <a:rPr sz="1800" b="1" spc="-5" dirty="0">
                <a:latin typeface="Wingdings"/>
                <a:cs typeface="Wingdings"/>
              </a:rPr>
              <a:t>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Arial"/>
                <a:cs typeface="Arial"/>
              </a:rPr>
              <a:t>Definition</a:t>
            </a:r>
            <a:r>
              <a:rPr sz="1800" b="1" dirty="0">
                <a:latin typeface="Wingdings"/>
                <a:cs typeface="Wingdings"/>
              </a:rPr>
              <a:t></a:t>
            </a:r>
            <a:r>
              <a:rPr sz="1800" b="1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and Distribution  </a:t>
            </a:r>
            <a:r>
              <a:rPr sz="1800" b="1" spc="-5" dirty="0">
                <a:latin typeface="Arial"/>
                <a:cs typeface="Arial"/>
              </a:rPr>
              <a:t>Display </a:t>
            </a:r>
            <a:r>
              <a:rPr sz="1800" b="1" dirty="0">
                <a:latin typeface="Arial"/>
                <a:cs typeface="Arial"/>
              </a:rPr>
              <a:t>IMG</a:t>
            </a:r>
            <a:r>
              <a:rPr sz="1800" b="1" dirty="0">
                <a:latin typeface="Wingdings"/>
                <a:cs typeface="Wingdings"/>
              </a:rPr>
              <a:t></a:t>
            </a:r>
            <a:r>
              <a:rPr sz="1800" b="1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Enterprise Structure</a:t>
            </a:r>
            <a:r>
              <a:rPr sz="1800" b="1" spc="-5" dirty="0">
                <a:latin typeface="Wingdings"/>
                <a:cs typeface="Wingdings"/>
              </a:rPr>
              <a:t>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Assignment </a:t>
            </a:r>
            <a:r>
              <a:rPr sz="1800" b="1" spc="-5" dirty="0">
                <a:latin typeface="Wingdings"/>
                <a:cs typeface="Wingdings"/>
              </a:rPr>
              <a:t>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and</a:t>
            </a:r>
            <a:r>
              <a:rPr sz="1800" b="1" spc="16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istribu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61975" y="1882775"/>
            <a:ext cx="3524250" cy="2787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47687" y="1868423"/>
            <a:ext cx="3552825" cy="2816225"/>
          </a:xfrm>
          <a:custGeom>
            <a:avLst/>
            <a:gdLst/>
            <a:ahLst/>
            <a:cxnLst/>
            <a:rect l="l" t="t" r="r" b="b"/>
            <a:pathLst>
              <a:path w="3552825" h="2816225">
                <a:moveTo>
                  <a:pt x="0" y="2816225"/>
                </a:moveTo>
                <a:lnTo>
                  <a:pt x="3552825" y="2816225"/>
                </a:lnTo>
                <a:lnTo>
                  <a:pt x="3552825" y="0"/>
                </a:lnTo>
                <a:lnTo>
                  <a:pt x="0" y="0"/>
                </a:lnTo>
                <a:lnTo>
                  <a:pt x="0" y="28162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876800" y="1828800"/>
            <a:ext cx="3581400" cy="293052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862448" y="1814448"/>
            <a:ext cx="3609975" cy="2959100"/>
          </a:xfrm>
          <a:custGeom>
            <a:avLst/>
            <a:gdLst/>
            <a:ahLst/>
            <a:cxnLst/>
            <a:rect l="l" t="t" r="r" b="b"/>
            <a:pathLst>
              <a:path w="3609975" h="2959100">
                <a:moveTo>
                  <a:pt x="0" y="2959100"/>
                </a:moveTo>
                <a:lnTo>
                  <a:pt x="3609975" y="2959100"/>
                </a:lnTo>
                <a:lnTo>
                  <a:pt x="3609975" y="0"/>
                </a:lnTo>
                <a:lnTo>
                  <a:pt x="0" y="0"/>
                </a:lnTo>
                <a:lnTo>
                  <a:pt x="0" y="29591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422903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" y="291779"/>
            <a:ext cx="9143999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altLang="en-US" kern="0" dirty="0" smtClean="0"/>
              <a:t>  Lesson Objectives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3000" y="1676400"/>
            <a:ext cx="4572000" cy="36009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Output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Free goods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Cross selling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Material Determination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Listing and Exclusion 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Condition Technique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cs typeface="Arial"/>
              </a:rPr>
              <a:t>Standard Processes in SD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Inquiry and quotation 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Sales order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Delivery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/>
              <a:t>Billing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cs typeface="Arial"/>
              </a:rPr>
              <a:t>Tips and Ticks 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2990088" y="67056"/>
            <a:ext cx="810767" cy="8199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455777" y="103503"/>
            <a:ext cx="7172325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Master Data – Material</a:t>
            </a:r>
            <a:r>
              <a:rPr sz="4000" spc="50" dirty="0"/>
              <a:t> </a:t>
            </a:r>
            <a:r>
              <a:rPr sz="4000" spc="-5" dirty="0"/>
              <a:t>Master</a:t>
            </a:r>
            <a:endParaRPr sz="4000" dirty="0"/>
          </a:p>
        </p:txBody>
      </p:sp>
      <p:sp>
        <p:nvSpPr>
          <p:cNvPr id="9" name="object 9"/>
          <p:cNvSpPr/>
          <p:nvPr/>
        </p:nvSpPr>
        <p:spPr>
          <a:xfrm>
            <a:off x="5595671" y="1249298"/>
            <a:ext cx="3365500" cy="4680941"/>
          </a:xfrm>
          <a:custGeom>
            <a:avLst/>
            <a:gdLst/>
            <a:ahLst/>
            <a:cxnLst/>
            <a:rect l="l" t="t" r="r" b="b"/>
            <a:pathLst>
              <a:path w="3365500" h="5632450">
                <a:moveTo>
                  <a:pt x="0" y="5632450"/>
                </a:moveTo>
                <a:lnTo>
                  <a:pt x="3365500" y="5632450"/>
                </a:lnTo>
                <a:lnTo>
                  <a:pt x="3365500" y="0"/>
                </a:lnTo>
                <a:lnTo>
                  <a:pt x="0" y="0"/>
                </a:lnTo>
                <a:lnTo>
                  <a:pt x="0" y="56324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635713" y="1439722"/>
            <a:ext cx="271145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  <a:buChar char="•"/>
              <a:tabLst>
                <a:tab pos="127000" algn="l"/>
              </a:tabLst>
            </a:pPr>
            <a:r>
              <a:rPr sz="1400" spc="-5" dirty="0">
                <a:latin typeface="Arial"/>
                <a:cs typeface="Arial"/>
              </a:rPr>
              <a:t>Same </a:t>
            </a:r>
            <a:r>
              <a:rPr sz="1400" dirty="0">
                <a:latin typeface="Arial"/>
                <a:cs typeface="Arial"/>
              </a:rPr>
              <a:t>Material </a:t>
            </a:r>
            <a:r>
              <a:rPr sz="1400" spc="-5" dirty="0">
                <a:latin typeface="Arial"/>
                <a:cs typeface="Arial"/>
              </a:rPr>
              <a:t>can be used</a:t>
            </a:r>
            <a:r>
              <a:rPr sz="1400" spc="-8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by  different </a:t>
            </a:r>
            <a:r>
              <a:rPr sz="1400" dirty="0">
                <a:latin typeface="Arial"/>
                <a:cs typeface="Arial"/>
              </a:rPr>
              <a:t>Departments, </a:t>
            </a:r>
            <a:r>
              <a:rPr sz="1400" spc="-5" dirty="0">
                <a:latin typeface="Arial"/>
                <a:cs typeface="Arial"/>
              </a:rPr>
              <a:t>hence  </a:t>
            </a:r>
            <a:r>
              <a:rPr sz="1400" dirty="0">
                <a:latin typeface="Arial"/>
                <a:cs typeface="Arial"/>
              </a:rPr>
              <a:t>material </a:t>
            </a:r>
            <a:r>
              <a:rPr sz="1400" spc="-5" dirty="0">
                <a:latin typeface="Arial"/>
                <a:cs typeface="Arial"/>
              </a:rPr>
              <a:t>has many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Views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52403" y="2272460"/>
            <a:ext cx="310134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  <a:buChar char="•"/>
              <a:tabLst>
                <a:tab pos="127000" algn="l"/>
              </a:tabLst>
            </a:pPr>
            <a:r>
              <a:rPr sz="1400" dirty="0">
                <a:latin typeface="Arial"/>
                <a:cs typeface="Arial"/>
              </a:rPr>
              <a:t>Material Master </a:t>
            </a:r>
            <a:r>
              <a:rPr sz="1400" spc="-5" dirty="0">
                <a:latin typeface="Arial"/>
                <a:cs typeface="Arial"/>
              </a:rPr>
              <a:t>has Main </a:t>
            </a:r>
            <a:r>
              <a:rPr sz="1400" spc="-10" dirty="0">
                <a:latin typeface="Arial"/>
                <a:cs typeface="Arial"/>
              </a:rPr>
              <a:t>Views  </a:t>
            </a:r>
            <a:r>
              <a:rPr sz="1400" dirty="0">
                <a:latin typeface="Arial"/>
                <a:cs typeface="Arial"/>
              </a:rPr>
              <a:t>(Basic Data, </a:t>
            </a:r>
            <a:r>
              <a:rPr sz="1400" spc="-55" dirty="0">
                <a:latin typeface="Arial"/>
                <a:cs typeface="Arial"/>
              </a:rPr>
              <a:t>MRP, </a:t>
            </a:r>
            <a:r>
              <a:rPr sz="1400" dirty="0">
                <a:latin typeface="Arial"/>
                <a:cs typeface="Arial"/>
              </a:rPr>
              <a:t>Purch. Org,  Sales) and Additional </a:t>
            </a:r>
            <a:r>
              <a:rPr sz="1400" spc="-10" dirty="0">
                <a:latin typeface="Arial"/>
                <a:cs typeface="Arial"/>
              </a:rPr>
              <a:t>Views</a:t>
            </a:r>
            <a:r>
              <a:rPr sz="1400" spc="-19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(UOM,  </a:t>
            </a:r>
            <a:r>
              <a:rPr sz="1400" spc="-40" dirty="0">
                <a:latin typeface="Arial"/>
                <a:cs typeface="Arial"/>
              </a:rPr>
              <a:t>Text,</a:t>
            </a:r>
            <a:r>
              <a:rPr sz="1400" spc="-9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c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5642228" y="2970301"/>
            <a:ext cx="3157855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  <a:buChar char="•"/>
              <a:tabLst>
                <a:tab pos="127000" algn="l"/>
              </a:tabLst>
            </a:pPr>
            <a:r>
              <a:rPr sz="1400" dirty="0">
                <a:latin typeface="Arial"/>
                <a:cs typeface="Arial"/>
              </a:rPr>
              <a:t>In Material Master </a:t>
            </a:r>
            <a:r>
              <a:rPr sz="1400" spc="-5" dirty="0">
                <a:latin typeface="Arial"/>
                <a:cs typeface="Arial"/>
              </a:rPr>
              <a:t>some </a:t>
            </a:r>
            <a:r>
              <a:rPr sz="1400" spc="-10" dirty="0">
                <a:latin typeface="Arial"/>
                <a:cs typeface="Arial"/>
              </a:rPr>
              <a:t>views </a:t>
            </a:r>
            <a:r>
              <a:rPr sz="1400" spc="-5" dirty="0">
                <a:latin typeface="Arial"/>
                <a:cs typeface="Arial"/>
              </a:rPr>
              <a:t>are  </a:t>
            </a:r>
            <a:r>
              <a:rPr sz="1400" dirty="0">
                <a:latin typeface="Arial"/>
                <a:cs typeface="Arial"/>
              </a:rPr>
              <a:t>maintained at Client </a:t>
            </a:r>
            <a:r>
              <a:rPr sz="1400" spc="-5" dirty="0">
                <a:latin typeface="Arial"/>
                <a:cs typeface="Arial"/>
              </a:rPr>
              <a:t>Level,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whereas  </a:t>
            </a:r>
            <a:r>
              <a:rPr sz="1400" dirty="0">
                <a:latin typeface="Arial"/>
                <a:cs typeface="Arial"/>
              </a:rPr>
              <a:t>the others </a:t>
            </a:r>
            <a:r>
              <a:rPr sz="1400" spc="-5" dirty="0">
                <a:latin typeface="Arial"/>
                <a:cs typeface="Arial"/>
              </a:rPr>
              <a:t>are </a:t>
            </a:r>
            <a:r>
              <a:rPr sz="1400" dirty="0">
                <a:latin typeface="Arial"/>
                <a:cs typeface="Arial"/>
              </a:rPr>
              <a:t>maintained at other  organizational </a:t>
            </a:r>
            <a:r>
              <a:rPr sz="1400" spc="-5" dirty="0">
                <a:latin typeface="Arial"/>
                <a:cs typeface="Arial"/>
              </a:rPr>
              <a:t>levels, </a:t>
            </a:r>
            <a:r>
              <a:rPr sz="1400" dirty="0">
                <a:latin typeface="Arial"/>
                <a:cs typeface="Arial"/>
              </a:rPr>
              <a:t>e.g. Plant,  </a:t>
            </a:r>
            <a:r>
              <a:rPr sz="1400" spc="-5" dirty="0">
                <a:latin typeface="Arial"/>
                <a:cs typeface="Arial"/>
              </a:rPr>
              <a:t>Sales </a:t>
            </a:r>
            <a:r>
              <a:rPr sz="1400" dirty="0">
                <a:latin typeface="Arial"/>
                <a:cs typeface="Arial"/>
              </a:rPr>
              <a:t>Organization/Distribution  Channels </a:t>
            </a:r>
            <a:r>
              <a:rPr sz="1400" spc="-5" dirty="0">
                <a:latin typeface="Arial"/>
                <a:cs typeface="Arial"/>
              </a:rPr>
              <a:t>level,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c.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5642228" y="4383223"/>
            <a:ext cx="3147695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  <a:buChar char="•"/>
              <a:tabLst>
                <a:tab pos="127000" algn="l"/>
              </a:tabLst>
            </a:pPr>
            <a:r>
              <a:rPr sz="1400" spc="-5" dirty="0">
                <a:latin typeface="Arial"/>
                <a:cs typeface="Arial"/>
              </a:rPr>
              <a:t>The data in </a:t>
            </a:r>
            <a:r>
              <a:rPr sz="1400" dirty="0">
                <a:latin typeface="Arial"/>
                <a:cs typeface="Arial"/>
              </a:rPr>
              <a:t>Material Masters </a:t>
            </a:r>
            <a:r>
              <a:rPr sz="1400" spc="-5" dirty="0">
                <a:latin typeface="Arial"/>
                <a:cs typeface="Arial"/>
              </a:rPr>
              <a:t>is  either descriptive </a:t>
            </a:r>
            <a:r>
              <a:rPr sz="1400" dirty="0">
                <a:latin typeface="Arial"/>
                <a:cs typeface="Arial"/>
              </a:rPr>
              <a:t>(description, etc.),  </a:t>
            </a:r>
            <a:r>
              <a:rPr sz="1400" spc="-5" dirty="0">
                <a:latin typeface="Arial"/>
                <a:cs typeface="Arial"/>
              </a:rPr>
              <a:t>or can </a:t>
            </a:r>
            <a:r>
              <a:rPr sz="1400" dirty="0">
                <a:latin typeface="Arial"/>
                <a:cs typeface="Arial"/>
              </a:rPr>
              <a:t>control certain functions  (material group, procurement </a:t>
            </a:r>
            <a:r>
              <a:rPr sz="1400" spc="-35" dirty="0">
                <a:latin typeface="Arial"/>
                <a:cs typeface="Arial"/>
              </a:rPr>
              <a:t>key,  </a:t>
            </a:r>
            <a:r>
              <a:rPr sz="1400" dirty="0">
                <a:latin typeface="Arial"/>
                <a:cs typeface="Arial"/>
              </a:rPr>
              <a:t>etc.).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690487" y="5365257"/>
            <a:ext cx="305117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  <a:buChar char="•"/>
              <a:tabLst>
                <a:tab pos="127000" algn="l"/>
              </a:tabLst>
            </a:pPr>
            <a:r>
              <a:rPr sz="1400" dirty="0">
                <a:latin typeface="Arial"/>
                <a:cs typeface="Arial"/>
              </a:rPr>
              <a:t>Material Master </a:t>
            </a:r>
            <a:r>
              <a:rPr sz="1400" spc="-5" dirty="0">
                <a:latin typeface="Arial"/>
                <a:cs typeface="Arial"/>
              </a:rPr>
              <a:t>has</a:t>
            </a:r>
            <a:r>
              <a:rPr sz="1400" spc="-8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approximately  800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ields.</a:t>
            </a:r>
          </a:p>
        </p:txBody>
      </p:sp>
      <p:sp>
        <p:nvSpPr>
          <p:cNvPr id="15" name="object 15"/>
          <p:cNvSpPr/>
          <p:nvPr/>
        </p:nvSpPr>
        <p:spPr>
          <a:xfrm>
            <a:off x="1487550" y="1476375"/>
            <a:ext cx="513080" cy="852805"/>
          </a:xfrm>
          <a:custGeom>
            <a:avLst/>
            <a:gdLst/>
            <a:ahLst/>
            <a:cxnLst/>
            <a:rect l="l" t="t" r="r" b="b"/>
            <a:pathLst>
              <a:path w="513080" h="852805">
                <a:moveTo>
                  <a:pt x="512699" y="852551"/>
                </a:moveTo>
                <a:lnTo>
                  <a:pt x="0" y="0"/>
                </a:lnTo>
              </a:path>
            </a:pathLst>
          </a:custGeom>
          <a:ln w="38099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95362" y="895350"/>
            <a:ext cx="649287" cy="6223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1094638" y="1083715"/>
            <a:ext cx="44894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4826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Calssi  </a:t>
            </a:r>
            <a:r>
              <a:rPr sz="1000" spc="-10" dirty="0">
                <a:latin typeface="Georgia"/>
                <a:cs typeface="Georgia"/>
              </a:rPr>
              <a:t>fi</a:t>
            </a:r>
            <a:r>
              <a:rPr sz="1000" spc="-5" dirty="0">
                <a:latin typeface="Georgia"/>
                <a:cs typeface="Georgia"/>
              </a:rPr>
              <a:t>cat</a:t>
            </a:r>
            <a:r>
              <a:rPr sz="1000" spc="-10" dirty="0">
                <a:latin typeface="Georgia"/>
                <a:cs typeface="Georgia"/>
              </a:rPr>
              <a:t>i</a:t>
            </a:r>
            <a:r>
              <a:rPr sz="1000" spc="-5" dirty="0">
                <a:latin typeface="Georgia"/>
                <a:cs typeface="Georgia"/>
              </a:rPr>
              <a:t>on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92187" y="1949450"/>
            <a:ext cx="889635" cy="492125"/>
          </a:xfrm>
          <a:custGeom>
            <a:avLst/>
            <a:gdLst/>
            <a:ahLst/>
            <a:cxnLst/>
            <a:rect l="l" t="t" r="r" b="b"/>
            <a:pathLst>
              <a:path w="889635" h="492125">
                <a:moveTo>
                  <a:pt x="889063" y="492125"/>
                </a:moveTo>
                <a:lnTo>
                  <a:pt x="0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82587" y="1484375"/>
            <a:ext cx="649287" cy="6223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455777" y="1749069"/>
            <a:ext cx="50292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Foreca</a:t>
            </a:r>
            <a:r>
              <a:rPr sz="1000" spc="-10" dirty="0">
                <a:latin typeface="Georgia"/>
                <a:cs typeface="Georgia"/>
              </a:rPr>
              <a:t>st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811212" y="2595626"/>
            <a:ext cx="1027430" cy="0"/>
          </a:xfrm>
          <a:custGeom>
            <a:avLst/>
            <a:gdLst/>
            <a:ahLst/>
            <a:cxnLst/>
            <a:rect l="l" t="t" r="r" b="b"/>
            <a:pathLst>
              <a:path w="1027430">
                <a:moveTo>
                  <a:pt x="1027112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58750" y="2320569"/>
            <a:ext cx="649287" cy="6223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264058" y="2519553"/>
            <a:ext cx="43624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Georgia"/>
                <a:cs typeface="Georgia"/>
              </a:rPr>
              <a:t>Q</a:t>
            </a:r>
            <a:r>
              <a:rPr sz="1000" spc="-5" dirty="0">
                <a:latin typeface="Georgia"/>
                <a:cs typeface="Georgia"/>
              </a:rPr>
              <a:t>ual</a:t>
            </a:r>
            <a:r>
              <a:rPr sz="1000" spc="-10" dirty="0">
                <a:latin typeface="Georgia"/>
                <a:cs typeface="Georgia"/>
              </a:rPr>
              <a:t>i</a:t>
            </a:r>
            <a:r>
              <a:rPr sz="1000" spc="-5" dirty="0">
                <a:latin typeface="Georgia"/>
                <a:cs typeface="Georgia"/>
              </a:rPr>
              <a:t>ty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990600" y="2751073"/>
            <a:ext cx="889000" cy="492125"/>
          </a:xfrm>
          <a:custGeom>
            <a:avLst/>
            <a:gdLst/>
            <a:ahLst/>
            <a:cxnLst/>
            <a:rect l="l" t="t" r="r" b="b"/>
            <a:pathLst>
              <a:path w="889000" h="492125">
                <a:moveTo>
                  <a:pt x="889000" y="0"/>
                </a:moveTo>
                <a:lnTo>
                  <a:pt x="0" y="492125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84175" y="3090926"/>
            <a:ext cx="649287" cy="6223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42366" y="3279800"/>
            <a:ext cx="53276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97155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Work  Sc</a:t>
            </a:r>
            <a:r>
              <a:rPr sz="1000" spc="-10" dirty="0">
                <a:latin typeface="Georgia"/>
                <a:cs typeface="Georgia"/>
              </a:rPr>
              <a:t>he</a:t>
            </a:r>
            <a:r>
              <a:rPr sz="1000" spc="-5" dirty="0">
                <a:latin typeface="Georgia"/>
                <a:cs typeface="Georgia"/>
              </a:rPr>
              <a:t>dule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485900" y="2865373"/>
            <a:ext cx="513080" cy="852805"/>
          </a:xfrm>
          <a:custGeom>
            <a:avLst/>
            <a:gdLst/>
            <a:ahLst/>
            <a:cxnLst/>
            <a:rect l="l" t="t" r="r" b="b"/>
            <a:pathLst>
              <a:path w="513080" h="852804">
                <a:moveTo>
                  <a:pt x="512825" y="0"/>
                </a:moveTo>
                <a:lnTo>
                  <a:pt x="0" y="852551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98537" y="3711219"/>
            <a:ext cx="649287" cy="6223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1181811" y="3910329"/>
            <a:ext cx="28194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S</a:t>
            </a:r>
            <a:r>
              <a:rPr sz="1000" spc="-10" dirty="0">
                <a:latin typeface="Georgia"/>
                <a:cs typeface="Georgia"/>
              </a:rPr>
              <a:t>&amp;D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160651" y="2906648"/>
            <a:ext cx="0" cy="984885"/>
          </a:xfrm>
          <a:custGeom>
            <a:avLst/>
            <a:gdLst/>
            <a:ahLst/>
            <a:cxnLst/>
            <a:rect l="l" t="t" r="r" b="b"/>
            <a:pathLst>
              <a:path h="984885">
                <a:moveTo>
                  <a:pt x="0" y="0"/>
                </a:moveTo>
                <a:lnTo>
                  <a:pt x="0" y="984376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836801" y="3925468"/>
            <a:ext cx="649224" cy="6223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1835657" y="4124705"/>
            <a:ext cx="65341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Purc</a:t>
            </a:r>
            <a:r>
              <a:rPr sz="1000" spc="-10" dirty="0">
                <a:latin typeface="Georgia"/>
                <a:cs typeface="Georgia"/>
              </a:rPr>
              <a:t>h</a:t>
            </a:r>
            <a:r>
              <a:rPr sz="1000" spc="-5" dirty="0">
                <a:latin typeface="Georgia"/>
                <a:cs typeface="Georgia"/>
              </a:rPr>
              <a:t>as</a:t>
            </a:r>
            <a:r>
              <a:rPr sz="1000" spc="-10" dirty="0">
                <a:latin typeface="Georgia"/>
                <a:cs typeface="Georgia"/>
              </a:rPr>
              <a:t>i</a:t>
            </a:r>
            <a:r>
              <a:rPr sz="1000" spc="-5" dirty="0">
                <a:latin typeface="Georgia"/>
                <a:cs typeface="Georgia"/>
              </a:rPr>
              <a:t>ng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2322576" y="2867025"/>
            <a:ext cx="513080" cy="852805"/>
          </a:xfrm>
          <a:custGeom>
            <a:avLst/>
            <a:gdLst/>
            <a:ahLst/>
            <a:cxnLst/>
            <a:rect l="l" t="t" r="r" b="b"/>
            <a:pathLst>
              <a:path w="513080" h="852804">
                <a:moveTo>
                  <a:pt x="0" y="0"/>
                </a:moveTo>
                <a:lnTo>
                  <a:pt x="512699" y="852551"/>
                </a:lnTo>
              </a:path>
            </a:pathLst>
          </a:custGeom>
          <a:ln w="38099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675001" y="3676650"/>
            <a:ext cx="649224" cy="622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2821685" y="3832605"/>
            <a:ext cx="35623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524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Ware  </a:t>
            </a:r>
            <a:r>
              <a:rPr sz="1000" spc="-10" dirty="0">
                <a:latin typeface="Georgia"/>
                <a:cs typeface="Georgia"/>
              </a:rPr>
              <a:t>h</a:t>
            </a:r>
            <a:r>
              <a:rPr sz="1000" spc="-5" dirty="0">
                <a:latin typeface="Georgia"/>
                <a:cs typeface="Georgia"/>
              </a:rPr>
              <a:t>ou</a:t>
            </a:r>
            <a:r>
              <a:rPr sz="1000" spc="-10" dirty="0">
                <a:latin typeface="Georgia"/>
                <a:cs typeface="Georgia"/>
              </a:rPr>
              <a:t>se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440051" y="2752725"/>
            <a:ext cx="890905" cy="492125"/>
          </a:xfrm>
          <a:custGeom>
            <a:avLst/>
            <a:gdLst/>
            <a:ahLst/>
            <a:cxnLst/>
            <a:rect l="l" t="t" r="r" b="b"/>
            <a:pathLst>
              <a:path w="890904" h="492125">
                <a:moveTo>
                  <a:pt x="0" y="0"/>
                </a:moveTo>
                <a:lnTo>
                  <a:pt x="890524" y="492125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287776" y="3087751"/>
            <a:ext cx="649224" cy="6223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387344" y="3319653"/>
            <a:ext cx="45085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Storage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484501" y="2597150"/>
            <a:ext cx="1027430" cy="0"/>
          </a:xfrm>
          <a:custGeom>
            <a:avLst/>
            <a:gdLst/>
            <a:ahLst/>
            <a:cxnLst/>
            <a:rect l="l" t="t" r="r" b="b"/>
            <a:pathLst>
              <a:path w="1027429">
                <a:moveTo>
                  <a:pt x="0" y="0"/>
                </a:moveTo>
                <a:lnTo>
                  <a:pt x="1027049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511550" y="2284476"/>
            <a:ext cx="649351" cy="6223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3505961" y="2549169"/>
            <a:ext cx="66230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Accounting</a:t>
            </a:r>
            <a:endParaRPr sz="1000" dirty="0">
              <a:latin typeface="Georgia"/>
              <a:cs typeface="Georgia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2440051" y="1949450"/>
            <a:ext cx="890905" cy="492125"/>
          </a:xfrm>
          <a:custGeom>
            <a:avLst/>
            <a:gdLst/>
            <a:ahLst/>
            <a:cxnLst/>
            <a:rect l="l" t="t" r="r" b="b"/>
            <a:pathLst>
              <a:path w="890904" h="492125">
                <a:moveTo>
                  <a:pt x="0" y="492125"/>
                </a:moveTo>
                <a:lnTo>
                  <a:pt x="890524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286125" y="1482725"/>
            <a:ext cx="649351" cy="6223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3303523" y="1671345"/>
            <a:ext cx="61595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39700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Stock  Plant/</a:t>
            </a:r>
            <a:r>
              <a:rPr sz="1000" dirty="0">
                <a:latin typeface="Georgia"/>
                <a:cs typeface="Georgia"/>
              </a:rPr>
              <a:t>S</a:t>
            </a:r>
            <a:r>
              <a:rPr sz="1000" spc="-5" dirty="0">
                <a:latin typeface="Georgia"/>
                <a:cs typeface="Georgia"/>
              </a:rPr>
              <a:t>loc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2322576" y="1474850"/>
            <a:ext cx="513080" cy="852805"/>
          </a:xfrm>
          <a:custGeom>
            <a:avLst/>
            <a:gdLst/>
            <a:ahLst/>
            <a:cxnLst/>
            <a:rect l="l" t="t" r="r" b="b"/>
            <a:pathLst>
              <a:path w="513080" h="852805">
                <a:moveTo>
                  <a:pt x="0" y="852424"/>
                </a:moveTo>
                <a:lnTo>
                  <a:pt x="512699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673350" y="895350"/>
            <a:ext cx="649351" cy="62230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2734817" y="1083715"/>
            <a:ext cx="52895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3335">
              <a:lnSpc>
                <a:spcPct val="100000"/>
              </a:lnSpc>
            </a:pPr>
            <a:r>
              <a:rPr sz="1000" spc="-5" dirty="0">
                <a:latin typeface="Georgia"/>
                <a:cs typeface="Georgia"/>
              </a:rPr>
              <a:t>Material  Plann</a:t>
            </a:r>
            <a:r>
              <a:rPr sz="1000" spc="-10" dirty="0">
                <a:latin typeface="Georgia"/>
                <a:cs typeface="Georgia"/>
              </a:rPr>
              <a:t>i</a:t>
            </a:r>
            <a:r>
              <a:rPr sz="1000" spc="-5" dirty="0">
                <a:latin typeface="Georgia"/>
                <a:cs typeface="Georgia"/>
              </a:rPr>
              <a:t>ng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2160651" y="1303400"/>
            <a:ext cx="0" cy="984250"/>
          </a:xfrm>
          <a:custGeom>
            <a:avLst/>
            <a:gdLst/>
            <a:ahLst/>
            <a:cxnLst/>
            <a:rect l="l" t="t" r="r" b="b"/>
            <a:pathLst>
              <a:path h="984250">
                <a:moveTo>
                  <a:pt x="0" y="984250"/>
                </a:moveTo>
                <a:lnTo>
                  <a:pt x="0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835150" y="681101"/>
            <a:ext cx="649351" cy="6223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1985010" y="869339"/>
            <a:ext cx="32067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275" marR="5080" indent="-29209">
              <a:lnSpc>
                <a:spcPct val="100000"/>
              </a:lnSpc>
            </a:pPr>
            <a:r>
              <a:rPr sz="1000" spc="-10" dirty="0">
                <a:latin typeface="Georgia"/>
                <a:cs typeface="Georgia"/>
              </a:rPr>
              <a:t>B</a:t>
            </a:r>
            <a:r>
              <a:rPr sz="1000" spc="-5" dirty="0">
                <a:latin typeface="Georgia"/>
                <a:cs typeface="Georgia"/>
              </a:rPr>
              <a:t>as</a:t>
            </a:r>
            <a:r>
              <a:rPr sz="1000" spc="-10" dirty="0">
                <a:latin typeface="Georgia"/>
                <a:cs typeface="Georgia"/>
              </a:rPr>
              <a:t>i</a:t>
            </a:r>
            <a:r>
              <a:rPr sz="1000" spc="-5" dirty="0">
                <a:latin typeface="Georgia"/>
                <a:cs typeface="Georgia"/>
              </a:rPr>
              <a:t>c  Data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835150" y="2287651"/>
            <a:ext cx="649351" cy="6223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1910333" y="2443353"/>
            <a:ext cx="50038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2069" marR="5080" indent="-40005">
              <a:lnSpc>
                <a:spcPct val="100000"/>
              </a:lnSpc>
            </a:pPr>
            <a:r>
              <a:rPr sz="1000" spc="-10" dirty="0">
                <a:latin typeface="Georgia"/>
                <a:cs typeface="Georgia"/>
              </a:rPr>
              <a:t>Ma</a:t>
            </a:r>
            <a:r>
              <a:rPr sz="1000" dirty="0">
                <a:latin typeface="Georgia"/>
                <a:cs typeface="Georgia"/>
              </a:rPr>
              <a:t>t</a:t>
            </a:r>
            <a:r>
              <a:rPr sz="1000" spc="-10" dirty="0">
                <a:latin typeface="Georgia"/>
                <a:cs typeface="Georgia"/>
              </a:rPr>
              <a:t>eri</a:t>
            </a:r>
            <a:r>
              <a:rPr sz="1000" spc="-5" dirty="0">
                <a:latin typeface="Georgia"/>
                <a:cs typeface="Georgia"/>
              </a:rPr>
              <a:t>al  </a:t>
            </a:r>
            <a:r>
              <a:rPr sz="1000" spc="-10" dirty="0">
                <a:latin typeface="Georgia"/>
                <a:cs typeface="Georgia"/>
              </a:rPr>
              <a:t>Master</a:t>
            </a:r>
            <a:endParaRPr sz="1000" dirty="0">
              <a:latin typeface="Georgia"/>
              <a:cs typeface="Georgia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73152" y="4568341"/>
            <a:ext cx="5303010" cy="160385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88188" y="4676267"/>
            <a:ext cx="5119370" cy="621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">
              <a:lnSpc>
                <a:spcPct val="100000"/>
              </a:lnSpc>
              <a:tabLst>
                <a:tab pos="5106035" algn="l"/>
              </a:tabLst>
            </a:pPr>
            <a:r>
              <a:rPr sz="2400" u="sng" spc="-5" dirty="0">
                <a:latin typeface="Arial"/>
                <a:cs typeface="Arial"/>
              </a:rPr>
              <a:t>Material</a:t>
            </a:r>
            <a:r>
              <a:rPr sz="2400" u="sng" spc="-70" dirty="0">
                <a:latin typeface="Arial"/>
                <a:cs typeface="Arial"/>
              </a:rPr>
              <a:t> </a:t>
            </a:r>
            <a:r>
              <a:rPr sz="2400" u="sng" dirty="0">
                <a:latin typeface="Arial"/>
                <a:cs typeface="Arial"/>
              </a:rPr>
              <a:t>Master	</a:t>
            </a:r>
            <a:endParaRPr sz="2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Additional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63576" y="5294588"/>
            <a:ext cx="685800" cy="6096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320141" y="5486400"/>
            <a:ext cx="34988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65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e</a:t>
            </a:r>
            <a:r>
              <a:rPr sz="1400" spc="-20" dirty="0">
                <a:latin typeface="Arial"/>
                <a:cs typeface="Arial"/>
              </a:rPr>
              <a:t>x</a:t>
            </a:r>
            <a:r>
              <a:rPr sz="1400" dirty="0">
                <a:latin typeface="Arial"/>
                <a:cs typeface="Arial"/>
              </a:rPr>
              <a:t>t</a:t>
            </a:r>
          </a:p>
        </p:txBody>
      </p:sp>
      <p:sp>
        <p:nvSpPr>
          <p:cNvPr id="57" name="object 57"/>
          <p:cNvSpPr/>
          <p:nvPr/>
        </p:nvSpPr>
        <p:spPr>
          <a:xfrm>
            <a:off x="950976" y="5306771"/>
            <a:ext cx="685800" cy="6096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1062024" y="5486400"/>
            <a:ext cx="44069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U</a:t>
            </a:r>
            <a:r>
              <a:rPr sz="1400" dirty="0">
                <a:latin typeface="Arial"/>
                <a:cs typeface="Arial"/>
              </a:rPr>
              <a:t>OM</a:t>
            </a:r>
          </a:p>
        </p:txBody>
      </p:sp>
      <p:sp>
        <p:nvSpPr>
          <p:cNvPr id="59" name="object 59"/>
          <p:cNvSpPr/>
          <p:nvPr/>
        </p:nvSpPr>
        <p:spPr>
          <a:xfrm>
            <a:off x="1740153" y="5315368"/>
            <a:ext cx="685800" cy="6096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1747824" y="5491494"/>
            <a:ext cx="67056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1130" marR="5080" indent="-13906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Addition  </a:t>
            </a:r>
            <a:r>
              <a:rPr sz="1400" spc="-5" dirty="0">
                <a:latin typeface="Arial"/>
                <a:cs typeface="Arial"/>
              </a:rPr>
              <a:t>EAN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2527743" y="5306771"/>
            <a:ext cx="901700" cy="60960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 txBox="1"/>
          <p:nvPr/>
        </p:nvSpPr>
        <p:spPr>
          <a:xfrm>
            <a:off x="2557906" y="5467604"/>
            <a:ext cx="83756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0504" marR="5080" indent="-21844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ocu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ent  </a:t>
            </a:r>
            <a:r>
              <a:rPr sz="1400" spc="-5" dirty="0">
                <a:latin typeface="Arial"/>
                <a:cs typeface="Arial"/>
              </a:rPr>
              <a:t>Data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3511550" y="5315368"/>
            <a:ext cx="1212850" cy="60960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 txBox="1"/>
          <p:nvPr/>
        </p:nvSpPr>
        <p:spPr>
          <a:xfrm>
            <a:off x="3579621" y="5486400"/>
            <a:ext cx="107569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C</a:t>
            </a:r>
            <a:r>
              <a:rPr sz="1400" dirty="0">
                <a:latin typeface="Arial"/>
                <a:cs typeface="Arial"/>
              </a:rPr>
              <a:t>onsu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ption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9539"/>
            <a:ext cx="531876" cy="81991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169920" y="129539"/>
            <a:ext cx="809244" cy="81991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1371600" y="230884"/>
            <a:ext cx="7172325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Master Data – Material</a:t>
            </a:r>
            <a:r>
              <a:rPr sz="4000" spc="50" dirty="0"/>
              <a:t> </a:t>
            </a:r>
            <a:r>
              <a:rPr sz="4000" spc="-5" dirty="0"/>
              <a:t>Master</a:t>
            </a:r>
            <a:endParaRPr sz="4000" dirty="0"/>
          </a:p>
        </p:txBody>
      </p:sp>
      <p:sp>
        <p:nvSpPr>
          <p:cNvPr id="9" name="object 9"/>
          <p:cNvSpPr/>
          <p:nvPr/>
        </p:nvSpPr>
        <p:spPr>
          <a:xfrm>
            <a:off x="2070100" y="1447800"/>
            <a:ext cx="2501900" cy="18351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81050" y="3416300"/>
            <a:ext cx="3790950" cy="27559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876800" y="1447800"/>
            <a:ext cx="3914775" cy="47244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91845" y="1234694"/>
            <a:ext cx="1499235" cy="274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95" dirty="0">
                <a:latin typeface="Arial"/>
                <a:cs typeface="Arial"/>
              </a:rPr>
              <a:t>T</a:t>
            </a:r>
            <a:r>
              <a:rPr sz="1800" b="1" spc="-5" dirty="0">
                <a:latin typeface="Arial"/>
                <a:cs typeface="Arial"/>
              </a:rPr>
              <a:t>r</a:t>
            </a:r>
            <a:r>
              <a:rPr sz="1800" b="1" spc="-15" dirty="0">
                <a:latin typeface="Arial"/>
                <a:cs typeface="Arial"/>
              </a:rPr>
              <a:t>a</a:t>
            </a:r>
            <a:r>
              <a:rPr sz="1800" b="1" spc="-5" dirty="0">
                <a:latin typeface="Arial"/>
                <a:cs typeface="Arial"/>
              </a:rPr>
              <a:t>ns</a:t>
            </a:r>
            <a:r>
              <a:rPr sz="1800" b="1" spc="-15" dirty="0">
                <a:latin typeface="Arial"/>
                <a:cs typeface="Arial"/>
              </a:rPr>
              <a:t>a</a:t>
            </a:r>
            <a:r>
              <a:rPr sz="1800" b="1" dirty="0">
                <a:latin typeface="Arial"/>
                <a:cs typeface="Arial"/>
              </a:rPr>
              <a:t>ctio</a:t>
            </a:r>
            <a:r>
              <a:rPr sz="1800" b="1" spc="5" dirty="0">
                <a:latin typeface="Arial"/>
                <a:cs typeface="Arial"/>
              </a:rPr>
              <a:t>n</a:t>
            </a:r>
            <a:r>
              <a:rPr sz="1800" b="1" spc="-5" dirty="0">
                <a:latin typeface="Arial"/>
                <a:cs typeface="Arial"/>
              </a:rPr>
              <a:t>s,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8300" y="1509014"/>
            <a:ext cx="2600960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MM01 </a:t>
            </a:r>
            <a:r>
              <a:rPr sz="1800" b="1" dirty="0">
                <a:latin typeface="Arial"/>
                <a:cs typeface="Arial"/>
              </a:rPr>
              <a:t>- </a:t>
            </a:r>
            <a:r>
              <a:rPr sz="1800" b="1" spc="-5" dirty="0">
                <a:latin typeface="Arial"/>
                <a:cs typeface="Arial"/>
              </a:rPr>
              <a:t>Create Material  MM03 </a:t>
            </a:r>
            <a:r>
              <a:rPr sz="1800" b="1" dirty="0">
                <a:latin typeface="Arial"/>
                <a:cs typeface="Arial"/>
              </a:rPr>
              <a:t>- </a:t>
            </a:r>
            <a:r>
              <a:rPr sz="1800" b="1" spc="-5" dirty="0">
                <a:latin typeface="Arial"/>
                <a:cs typeface="Arial"/>
              </a:rPr>
              <a:t>Display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aterial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112135" y="1509014"/>
            <a:ext cx="3656329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MM02 </a:t>
            </a:r>
            <a:r>
              <a:rPr sz="1800" b="1" dirty="0">
                <a:latin typeface="Arial"/>
                <a:cs typeface="Arial"/>
              </a:rPr>
              <a:t>- </a:t>
            </a:r>
            <a:r>
              <a:rPr sz="1800" b="1" spc="-5" dirty="0">
                <a:latin typeface="Arial"/>
                <a:cs typeface="Arial"/>
              </a:rPr>
              <a:t>Change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aterial</a:t>
            </a:r>
            <a:endParaRPr sz="1800">
              <a:latin typeface="Arial"/>
              <a:cs typeface="Arial"/>
            </a:endParaRPr>
          </a:p>
          <a:p>
            <a:pPr marL="7493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MM06 </a:t>
            </a:r>
            <a:r>
              <a:rPr sz="1800" b="1" dirty="0">
                <a:latin typeface="Arial"/>
                <a:cs typeface="Arial"/>
              </a:rPr>
              <a:t>- Flag </a:t>
            </a:r>
            <a:r>
              <a:rPr sz="1800" b="1" spc="-5" dirty="0">
                <a:latin typeface="Arial"/>
                <a:cs typeface="Arial"/>
              </a:rPr>
              <a:t>Material for</a:t>
            </a:r>
            <a:r>
              <a:rPr sz="1800" b="1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ele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8300" y="2057653"/>
            <a:ext cx="4136390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MM17 – Mass Maintenance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Material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640835" y="260604"/>
            <a:ext cx="888491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868411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Master Data – Material</a:t>
            </a:r>
            <a:r>
              <a:rPr spc="-70" dirty="0"/>
              <a:t> </a:t>
            </a:r>
            <a:r>
              <a:rPr dirty="0"/>
              <a:t>Master</a:t>
            </a:r>
          </a:p>
        </p:txBody>
      </p:sp>
      <p:sp>
        <p:nvSpPr>
          <p:cNvPr id="12" name="object 12"/>
          <p:cNvSpPr/>
          <p:nvPr/>
        </p:nvSpPr>
        <p:spPr>
          <a:xfrm>
            <a:off x="4572000" y="2438400"/>
            <a:ext cx="3895725" cy="381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57648" y="2424112"/>
            <a:ext cx="3924300" cy="3838575"/>
          </a:xfrm>
          <a:custGeom>
            <a:avLst/>
            <a:gdLst/>
            <a:ahLst/>
            <a:cxnLst/>
            <a:rect l="l" t="t" r="r" b="b"/>
            <a:pathLst>
              <a:path w="3924300" h="3838575">
                <a:moveTo>
                  <a:pt x="0" y="3838575"/>
                </a:moveTo>
                <a:lnTo>
                  <a:pt x="3924300" y="3838575"/>
                </a:lnTo>
                <a:lnTo>
                  <a:pt x="3924300" y="0"/>
                </a:lnTo>
                <a:lnTo>
                  <a:pt x="0" y="0"/>
                </a:lnTo>
                <a:lnTo>
                  <a:pt x="0" y="3838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38150" y="2438400"/>
            <a:ext cx="3981450" cy="381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23862" y="2424112"/>
            <a:ext cx="4010025" cy="3838575"/>
          </a:xfrm>
          <a:custGeom>
            <a:avLst/>
            <a:gdLst/>
            <a:ahLst/>
            <a:cxnLst/>
            <a:rect l="l" t="t" r="r" b="b"/>
            <a:pathLst>
              <a:path w="4010025" h="3838575">
                <a:moveTo>
                  <a:pt x="0" y="3838575"/>
                </a:moveTo>
                <a:lnTo>
                  <a:pt x="4010025" y="3838575"/>
                </a:lnTo>
                <a:lnTo>
                  <a:pt x="4010025" y="0"/>
                </a:lnTo>
                <a:lnTo>
                  <a:pt x="0" y="0"/>
                </a:lnTo>
                <a:lnTo>
                  <a:pt x="0" y="3838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640835" y="260604"/>
            <a:ext cx="888491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92417" y="85832"/>
            <a:ext cx="8086090" cy="7771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Master Data – Material</a:t>
            </a:r>
            <a:r>
              <a:rPr spc="-70" dirty="0"/>
              <a:t> </a:t>
            </a:r>
            <a:r>
              <a:rPr dirty="0"/>
              <a:t>Master</a:t>
            </a:r>
          </a:p>
          <a:p>
            <a:pPr marL="452755" marR="5080">
              <a:lnSpc>
                <a:spcPct val="100499"/>
              </a:lnSpc>
              <a:spcBef>
                <a:spcPts val="330"/>
              </a:spcBef>
            </a:pPr>
            <a:r>
              <a:rPr sz="1600" dirty="0"/>
              <a:t>Material </a:t>
            </a:r>
            <a:r>
              <a:rPr sz="1600" spc="-45" dirty="0"/>
              <a:t>Type </a:t>
            </a:r>
            <a:r>
              <a:rPr sz="1600" b="0" dirty="0">
                <a:latin typeface="Arial"/>
                <a:cs typeface="Arial"/>
              </a:rPr>
              <a:t>is an </a:t>
            </a:r>
            <a:r>
              <a:rPr sz="1600" b="0" spc="-5" dirty="0">
                <a:latin typeface="Arial"/>
                <a:cs typeface="Arial"/>
              </a:rPr>
              <a:t>SAP </a:t>
            </a:r>
            <a:r>
              <a:rPr sz="1600" b="0" dirty="0">
                <a:latin typeface="Arial"/>
                <a:cs typeface="Arial"/>
              </a:rPr>
              <a:t>way of grouping materials with same</a:t>
            </a:r>
            <a:r>
              <a:rPr sz="1600" b="0" spc="-145" dirty="0">
                <a:latin typeface="Arial"/>
                <a:cs typeface="Arial"/>
              </a:rPr>
              <a:t> </a:t>
            </a:r>
            <a:r>
              <a:rPr sz="1600" b="0" dirty="0">
                <a:latin typeface="Arial"/>
                <a:cs typeface="Arial"/>
              </a:rPr>
              <a:t>basic  attributes.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2140" y="3271646"/>
            <a:ext cx="7949565" cy="30594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Material </a:t>
            </a:r>
            <a:r>
              <a:rPr sz="2000" spc="-30" dirty="0">
                <a:latin typeface="Arial"/>
                <a:cs typeface="Arial"/>
              </a:rPr>
              <a:t>Type</a:t>
            </a:r>
            <a:r>
              <a:rPr sz="2000" spc="-1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controls:</a:t>
            </a:r>
            <a:endParaRPr sz="2000">
              <a:latin typeface="Arial"/>
              <a:cs typeface="Arial"/>
            </a:endParaRPr>
          </a:p>
          <a:p>
            <a:pPr marL="180340" indent="-167640">
              <a:lnSpc>
                <a:spcPct val="100000"/>
              </a:lnSpc>
              <a:buChar char="•"/>
              <a:tabLst>
                <a:tab pos="180340" algn="l"/>
              </a:tabLst>
            </a:pPr>
            <a:r>
              <a:rPr sz="2000" dirty="0">
                <a:latin typeface="Arial"/>
                <a:cs typeface="Arial"/>
              </a:rPr>
              <a:t>Whether the material number can be assigned internally or</a:t>
            </a:r>
            <a:r>
              <a:rPr sz="2000" spc="-204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externally</a:t>
            </a:r>
            <a:endParaRPr sz="2000">
              <a:latin typeface="Arial"/>
              <a:cs typeface="Arial"/>
            </a:endParaRPr>
          </a:p>
          <a:p>
            <a:pPr marL="180340" indent="-167640">
              <a:lnSpc>
                <a:spcPct val="100000"/>
              </a:lnSpc>
              <a:buChar char="•"/>
              <a:tabLst>
                <a:tab pos="180340" algn="l"/>
              </a:tabLst>
            </a:pPr>
            <a:r>
              <a:rPr sz="2000" dirty="0">
                <a:latin typeface="Arial"/>
                <a:cs typeface="Arial"/>
              </a:rPr>
              <a:t>Which screens appear and in what</a:t>
            </a:r>
            <a:r>
              <a:rPr sz="2000" spc="-15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sequence</a:t>
            </a:r>
            <a:endParaRPr sz="2000">
              <a:latin typeface="Arial"/>
              <a:cs typeface="Arial"/>
            </a:endParaRPr>
          </a:p>
          <a:p>
            <a:pPr marL="180340" marR="128270" indent="-167640">
              <a:lnSpc>
                <a:spcPct val="100000"/>
              </a:lnSpc>
              <a:buChar char="•"/>
              <a:tabLst>
                <a:tab pos="180340" algn="l"/>
              </a:tabLst>
            </a:pPr>
            <a:r>
              <a:rPr sz="2000" dirty="0">
                <a:latin typeface="Arial"/>
                <a:cs typeface="Arial"/>
              </a:rPr>
              <a:t>Which fields are </a:t>
            </a:r>
            <a:r>
              <a:rPr sz="2000" spc="-15" dirty="0">
                <a:latin typeface="Arial"/>
                <a:cs typeface="Arial"/>
              </a:rPr>
              <a:t>mandatory, </a:t>
            </a:r>
            <a:r>
              <a:rPr sz="2000" dirty="0">
                <a:latin typeface="Arial"/>
                <a:cs typeface="Arial"/>
              </a:rPr>
              <a:t>optional, display </a:t>
            </a:r>
            <a:r>
              <a:rPr sz="2000" spc="-30" dirty="0">
                <a:latin typeface="Arial"/>
                <a:cs typeface="Arial"/>
              </a:rPr>
              <a:t>only, </a:t>
            </a:r>
            <a:r>
              <a:rPr sz="2000" dirty="0">
                <a:latin typeface="Arial"/>
                <a:cs typeface="Arial"/>
              </a:rPr>
              <a:t>or suppressed</a:t>
            </a:r>
            <a:r>
              <a:rPr sz="2000" spc="-17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on  each of these</a:t>
            </a:r>
            <a:r>
              <a:rPr sz="2000" spc="-12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screens.</a:t>
            </a:r>
            <a:endParaRPr sz="2000">
              <a:latin typeface="Arial"/>
              <a:cs typeface="Arial"/>
            </a:endParaRPr>
          </a:p>
          <a:p>
            <a:pPr marL="180340" marR="502920" indent="-167640">
              <a:lnSpc>
                <a:spcPct val="100000"/>
              </a:lnSpc>
              <a:buChar char="•"/>
              <a:tabLst>
                <a:tab pos="180340" algn="l"/>
              </a:tabLst>
            </a:pPr>
            <a:r>
              <a:rPr sz="2000" dirty="0">
                <a:latin typeface="Arial"/>
                <a:cs typeface="Arial"/>
              </a:rPr>
              <a:t>Default values for certain fields such as procurement </a:t>
            </a:r>
            <a:r>
              <a:rPr sz="2000" spc="-5" dirty="0">
                <a:latin typeface="Arial"/>
                <a:cs typeface="Arial"/>
              </a:rPr>
              <a:t>type </a:t>
            </a:r>
            <a:r>
              <a:rPr sz="2000" dirty="0">
                <a:latin typeface="Arial"/>
                <a:cs typeface="Arial"/>
              </a:rPr>
              <a:t>&amp;</a:t>
            </a:r>
            <a:r>
              <a:rPr sz="2000" spc="-204" dirty="0">
                <a:latin typeface="Arial"/>
                <a:cs typeface="Arial"/>
              </a:rPr>
              <a:t> </a:t>
            </a:r>
            <a:r>
              <a:rPr sz="2000" spc="-5" dirty="0">
                <a:latin typeface="Arial"/>
                <a:cs typeface="Arial"/>
              </a:rPr>
              <a:t>Item  </a:t>
            </a:r>
            <a:r>
              <a:rPr sz="2000" dirty="0">
                <a:latin typeface="Arial"/>
                <a:cs typeface="Arial"/>
              </a:rPr>
              <a:t>Category</a:t>
            </a:r>
            <a:r>
              <a:rPr sz="2000" spc="-12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group</a:t>
            </a:r>
            <a:endParaRPr sz="2000">
              <a:latin typeface="Arial"/>
              <a:cs typeface="Arial"/>
            </a:endParaRPr>
          </a:p>
          <a:p>
            <a:pPr marL="180340" indent="-167640">
              <a:lnSpc>
                <a:spcPct val="100000"/>
              </a:lnSpc>
              <a:buChar char="•"/>
              <a:tabLst>
                <a:tab pos="180340" algn="l"/>
              </a:tabLst>
            </a:pPr>
            <a:r>
              <a:rPr sz="2000" spc="-30" dirty="0">
                <a:latin typeface="Arial"/>
                <a:cs typeface="Arial"/>
              </a:rPr>
              <a:t>Value </a:t>
            </a:r>
            <a:r>
              <a:rPr sz="2000" dirty="0">
                <a:latin typeface="Arial"/>
                <a:cs typeface="Arial"/>
              </a:rPr>
              <a:t>and/or Quantity update requirement for a</a:t>
            </a:r>
            <a:r>
              <a:rPr sz="2000" spc="-19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material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0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Logistics General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Material Master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Basic Settings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Material</a:t>
            </a:r>
            <a:r>
              <a:rPr sz="2000" spc="-220" dirty="0">
                <a:latin typeface="Arial"/>
                <a:cs typeface="Arial"/>
              </a:rPr>
              <a:t> </a:t>
            </a:r>
            <a:r>
              <a:rPr sz="2000" spc="-20" dirty="0">
                <a:latin typeface="Arial"/>
                <a:cs typeface="Arial"/>
              </a:rPr>
              <a:t>Types</a:t>
            </a:r>
            <a:endParaRPr sz="2000">
              <a:latin typeface="Arial"/>
              <a:cs typeface="Arial"/>
            </a:endParaRPr>
          </a:p>
        </p:txBody>
      </p:sp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72911917"/>
              </p:ext>
            </p:extLst>
          </p:nvPr>
        </p:nvGraphicFramePr>
        <p:xfrm>
          <a:off x="2203450" y="1600201"/>
          <a:ext cx="4264025" cy="15335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5150"/>
                <a:gridCol w="1555750"/>
                <a:gridCol w="609600"/>
                <a:gridCol w="1533525"/>
              </a:tblGrid>
              <a:tr h="303551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DIE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Service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3652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LEIH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Returnable</a:t>
                      </a:r>
                      <a:r>
                        <a:rPr sz="1000" b="1" spc="-80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packaging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3551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FER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Finished</a:t>
                      </a:r>
                      <a:r>
                        <a:rPr sz="1000" b="1" spc="-7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product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7366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NLAG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Non-stock</a:t>
                      </a:r>
                      <a:r>
                        <a:rPr sz="1000" b="1" spc="-70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material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3551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HALB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Semifinished</a:t>
                      </a:r>
                      <a:r>
                        <a:rPr sz="1000" b="1" spc="-70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product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3652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ROH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Raw</a:t>
                      </a:r>
                      <a:r>
                        <a:rPr sz="1000" b="1" spc="-9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material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1932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HAWA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Trading</a:t>
                      </a:r>
                      <a:r>
                        <a:rPr sz="1000" b="1" spc="-8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good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1115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UNBW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Nonvaluated</a:t>
                      </a:r>
                      <a:r>
                        <a:rPr sz="1000" b="1" spc="-7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material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3551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KMAT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Configurable</a:t>
                      </a:r>
                      <a:r>
                        <a:rPr sz="1000" b="1" spc="-6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materials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7366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spc="-10" dirty="0">
                          <a:latin typeface="Arial"/>
                          <a:cs typeface="Arial"/>
                        </a:rPr>
                        <a:t>VERP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000" b="1" spc="-5" dirty="0">
                          <a:solidFill>
                            <a:srgbClr val="0000FF"/>
                          </a:solidFill>
                          <a:latin typeface="Arial"/>
                          <a:cs typeface="Arial"/>
                        </a:rPr>
                        <a:t>Packaging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063239" y="158495"/>
            <a:ext cx="1042415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374135" y="158495"/>
            <a:ext cx="888491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097011" y="158495"/>
            <a:ext cx="886968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2948" y="320547"/>
            <a:ext cx="8382634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Master Data – Customer</a:t>
            </a:r>
            <a:r>
              <a:rPr spc="-60" dirty="0"/>
              <a:t> </a:t>
            </a:r>
            <a:r>
              <a:rPr spc="-5" dirty="0"/>
              <a:t>Master</a:t>
            </a:r>
          </a:p>
        </p:txBody>
      </p:sp>
      <p:sp>
        <p:nvSpPr>
          <p:cNvPr id="8" name="object 8"/>
          <p:cNvSpPr/>
          <p:nvPr/>
        </p:nvSpPr>
        <p:spPr>
          <a:xfrm>
            <a:off x="762000" y="5791200"/>
            <a:ext cx="7848600" cy="381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62000" y="5791200"/>
            <a:ext cx="7848600" cy="381000"/>
          </a:xfrm>
          <a:custGeom>
            <a:avLst/>
            <a:gdLst/>
            <a:ahLst/>
            <a:cxnLst/>
            <a:rect l="l" t="t" r="r" b="b"/>
            <a:pathLst>
              <a:path w="7848600" h="381000">
                <a:moveTo>
                  <a:pt x="0" y="63500"/>
                </a:moveTo>
                <a:lnTo>
                  <a:pt x="4990" y="38785"/>
                </a:lnTo>
                <a:lnTo>
                  <a:pt x="18600" y="18600"/>
                </a:lnTo>
                <a:lnTo>
                  <a:pt x="38785" y="4990"/>
                </a:lnTo>
                <a:lnTo>
                  <a:pt x="63500" y="0"/>
                </a:lnTo>
                <a:lnTo>
                  <a:pt x="7785100" y="0"/>
                </a:lnTo>
                <a:lnTo>
                  <a:pt x="7809809" y="4990"/>
                </a:lnTo>
                <a:lnTo>
                  <a:pt x="7829994" y="18600"/>
                </a:lnTo>
                <a:lnTo>
                  <a:pt x="7843607" y="38785"/>
                </a:lnTo>
                <a:lnTo>
                  <a:pt x="7848600" y="63500"/>
                </a:lnTo>
                <a:lnTo>
                  <a:pt x="7848600" y="317500"/>
                </a:lnTo>
                <a:lnTo>
                  <a:pt x="7843607" y="342214"/>
                </a:lnTo>
                <a:lnTo>
                  <a:pt x="7829994" y="362399"/>
                </a:lnTo>
                <a:lnTo>
                  <a:pt x="7809809" y="376009"/>
                </a:lnTo>
                <a:lnTo>
                  <a:pt x="7785100" y="381000"/>
                </a:lnTo>
                <a:lnTo>
                  <a:pt x="63500" y="381000"/>
                </a:lnTo>
                <a:lnTo>
                  <a:pt x="38785" y="376009"/>
                </a:lnTo>
                <a:lnTo>
                  <a:pt x="18600" y="362399"/>
                </a:lnTo>
                <a:lnTo>
                  <a:pt x="4990" y="342214"/>
                </a:lnTo>
                <a:lnTo>
                  <a:pt x="0" y="317500"/>
                </a:lnTo>
                <a:lnTo>
                  <a:pt x="0" y="63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390900" y="1358900"/>
            <a:ext cx="1981200" cy="263525"/>
          </a:xfrm>
          <a:custGeom>
            <a:avLst/>
            <a:gdLst/>
            <a:ahLst/>
            <a:cxnLst/>
            <a:rect l="l" t="t" r="r" b="b"/>
            <a:pathLst>
              <a:path w="1981200" h="263525">
                <a:moveTo>
                  <a:pt x="1981200" y="0"/>
                </a:moveTo>
                <a:lnTo>
                  <a:pt x="0" y="0"/>
                </a:lnTo>
                <a:lnTo>
                  <a:pt x="263525" y="263525"/>
                </a:lnTo>
                <a:lnTo>
                  <a:pt x="1717675" y="263525"/>
                </a:lnTo>
                <a:lnTo>
                  <a:pt x="1981200" y="0"/>
                </a:lnTo>
                <a:close/>
              </a:path>
            </a:pathLst>
          </a:custGeom>
          <a:solidFill>
            <a:srgbClr val="FFFF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390900" y="2695575"/>
            <a:ext cx="1981200" cy="263525"/>
          </a:xfrm>
          <a:custGeom>
            <a:avLst/>
            <a:gdLst/>
            <a:ahLst/>
            <a:cxnLst/>
            <a:rect l="l" t="t" r="r" b="b"/>
            <a:pathLst>
              <a:path w="1981200" h="263525">
                <a:moveTo>
                  <a:pt x="1717675" y="0"/>
                </a:moveTo>
                <a:lnTo>
                  <a:pt x="263525" y="0"/>
                </a:lnTo>
                <a:lnTo>
                  <a:pt x="0" y="263525"/>
                </a:lnTo>
                <a:lnTo>
                  <a:pt x="1981200" y="263525"/>
                </a:lnTo>
                <a:lnTo>
                  <a:pt x="1717675" y="0"/>
                </a:lnTo>
                <a:close/>
              </a:path>
            </a:pathLst>
          </a:custGeom>
          <a:solidFill>
            <a:srgbClr val="CDCD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390900" y="1358900"/>
            <a:ext cx="263525" cy="1600200"/>
          </a:xfrm>
          <a:custGeom>
            <a:avLst/>
            <a:gdLst/>
            <a:ahLst/>
            <a:cxnLst/>
            <a:rect l="l" t="t" r="r" b="b"/>
            <a:pathLst>
              <a:path w="263525" h="1600200">
                <a:moveTo>
                  <a:pt x="0" y="0"/>
                </a:moveTo>
                <a:lnTo>
                  <a:pt x="0" y="1600200"/>
                </a:lnTo>
                <a:lnTo>
                  <a:pt x="263525" y="1336675"/>
                </a:lnTo>
                <a:lnTo>
                  <a:pt x="263525" y="263525"/>
                </a:lnTo>
                <a:lnTo>
                  <a:pt x="0" y="0"/>
                </a:lnTo>
                <a:close/>
              </a:path>
            </a:pathLst>
          </a:custGeom>
          <a:solidFill>
            <a:srgbClr val="FFFF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108575" y="1358900"/>
            <a:ext cx="263525" cy="1600200"/>
          </a:xfrm>
          <a:custGeom>
            <a:avLst/>
            <a:gdLst/>
            <a:ahLst/>
            <a:cxnLst/>
            <a:rect l="l" t="t" r="r" b="b"/>
            <a:pathLst>
              <a:path w="263525" h="1600200">
                <a:moveTo>
                  <a:pt x="263525" y="0"/>
                </a:moveTo>
                <a:lnTo>
                  <a:pt x="0" y="263525"/>
                </a:lnTo>
                <a:lnTo>
                  <a:pt x="0" y="1336675"/>
                </a:lnTo>
                <a:lnTo>
                  <a:pt x="263525" y="1600200"/>
                </a:lnTo>
                <a:lnTo>
                  <a:pt x="263525" y="0"/>
                </a:lnTo>
                <a:close/>
              </a:path>
            </a:pathLst>
          </a:custGeom>
          <a:solidFill>
            <a:srgbClr val="99995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654425" y="1622412"/>
            <a:ext cx="1454150" cy="1073150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224790" rIns="0" bIns="0" rtlCol="0">
            <a:spAutoFit/>
          </a:bodyPr>
          <a:lstStyle/>
          <a:p>
            <a:pPr marL="197485" indent="-196850">
              <a:lnSpc>
                <a:spcPct val="100000"/>
              </a:lnSpc>
              <a:spcBef>
                <a:spcPts val="1770"/>
              </a:spcBef>
            </a:pPr>
            <a:r>
              <a:rPr sz="2000" dirty="0">
                <a:latin typeface="Arial"/>
                <a:cs typeface="Arial"/>
              </a:rPr>
              <a:t>C</a:t>
            </a:r>
            <a:r>
              <a:rPr sz="2000" spc="5" dirty="0">
                <a:latin typeface="Arial"/>
                <a:cs typeface="Arial"/>
              </a:rPr>
              <a:t>U</a:t>
            </a:r>
            <a:r>
              <a:rPr sz="2000" dirty="0">
                <a:latin typeface="Arial"/>
                <a:cs typeface="Arial"/>
              </a:rPr>
              <a:t>S</a:t>
            </a:r>
            <a:r>
              <a:rPr sz="2000" spc="-45" dirty="0">
                <a:latin typeface="Arial"/>
                <a:cs typeface="Arial"/>
              </a:rPr>
              <a:t>T</a:t>
            </a:r>
            <a:r>
              <a:rPr sz="2000" dirty="0">
                <a:latin typeface="Arial"/>
                <a:cs typeface="Arial"/>
              </a:rPr>
              <a:t>OMER  MASTER</a:t>
            </a:r>
            <a:endParaRPr sz="20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492500" y="3549650"/>
            <a:ext cx="1676400" cy="12001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492500" y="3378200"/>
            <a:ext cx="1676400" cy="3429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505200" y="4572000"/>
            <a:ext cx="1752600" cy="914400"/>
          </a:xfrm>
          <a:custGeom>
            <a:avLst/>
            <a:gdLst/>
            <a:ahLst/>
            <a:cxnLst/>
            <a:rect l="l" t="t" r="r" b="b"/>
            <a:pathLst>
              <a:path w="1752600" h="914400">
                <a:moveTo>
                  <a:pt x="876300" y="0"/>
                </a:moveTo>
                <a:lnTo>
                  <a:pt x="813714" y="1148"/>
                </a:lnTo>
                <a:lnTo>
                  <a:pt x="752317" y="4540"/>
                </a:lnTo>
                <a:lnTo>
                  <a:pt x="692256" y="10100"/>
                </a:lnTo>
                <a:lnTo>
                  <a:pt x="633681" y="17750"/>
                </a:lnTo>
                <a:lnTo>
                  <a:pt x="576738" y="27412"/>
                </a:lnTo>
                <a:lnTo>
                  <a:pt x="521576" y="39009"/>
                </a:lnTo>
                <a:lnTo>
                  <a:pt x="468344" y="52464"/>
                </a:lnTo>
                <a:lnTo>
                  <a:pt x="417189" y="67698"/>
                </a:lnTo>
                <a:lnTo>
                  <a:pt x="368261" y="84636"/>
                </a:lnTo>
                <a:lnTo>
                  <a:pt x="321706" y="103199"/>
                </a:lnTo>
                <a:lnTo>
                  <a:pt x="277674" y="123309"/>
                </a:lnTo>
                <a:lnTo>
                  <a:pt x="236313" y="144891"/>
                </a:lnTo>
                <a:lnTo>
                  <a:pt x="197771" y="167865"/>
                </a:lnTo>
                <a:lnTo>
                  <a:pt x="162195" y="192155"/>
                </a:lnTo>
                <a:lnTo>
                  <a:pt x="129736" y="217683"/>
                </a:lnTo>
                <a:lnTo>
                  <a:pt x="100539" y="244373"/>
                </a:lnTo>
                <a:lnTo>
                  <a:pt x="52531" y="300924"/>
                </a:lnTo>
                <a:lnTo>
                  <a:pt x="19355" y="361190"/>
                </a:lnTo>
                <a:lnTo>
                  <a:pt x="2200" y="424552"/>
                </a:lnTo>
                <a:lnTo>
                  <a:pt x="0" y="457200"/>
                </a:lnTo>
                <a:lnTo>
                  <a:pt x="2200" y="489847"/>
                </a:lnTo>
                <a:lnTo>
                  <a:pt x="19355" y="553209"/>
                </a:lnTo>
                <a:lnTo>
                  <a:pt x="52531" y="613475"/>
                </a:lnTo>
                <a:lnTo>
                  <a:pt x="100539" y="670026"/>
                </a:lnTo>
                <a:lnTo>
                  <a:pt x="129736" y="696716"/>
                </a:lnTo>
                <a:lnTo>
                  <a:pt x="162195" y="722244"/>
                </a:lnTo>
                <a:lnTo>
                  <a:pt x="197771" y="746534"/>
                </a:lnTo>
                <a:lnTo>
                  <a:pt x="236313" y="769508"/>
                </a:lnTo>
                <a:lnTo>
                  <a:pt x="277674" y="791090"/>
                </a:lnTo>
                <a:lnTo>
                  <a:pt x="321706" y="811200"/>
                </a:lnTo>
                <a:lnTo>
                  <a:pt x="368261" y="829763"/>
                </a:lnTo>
                <a:lnTo>
                  <a:pt x="417189" y="846701"/>
                </a:lnTo>
                <a:lnTo>
                  <a:pt x="468344" y="861935"/>
                </a:lnTo>
                <a:lnTo>
                  <a:pt x="521576" y="875390"/>
                </a:lnTo>
                <a:lnTo>
                  <a:pt x="576738" y="886987"/>
                </a:lnTo>
                <a:lnTo>
                  <a:pt x="633681" y="896649"/>
                </a:lnTo>
                <a:lnTo>
                  <a:pt x="692256" y="904299"/>
                </a:lnTo>
                <a:lnTo>
                  <a:pt x="752317" y="909859"/>
                </a:lnTo>
                <a:lnTo>
                  <a:pt x="813714" y="913251"/>
                </a:lnTo>
                <a:lnTo>
                  <a:pt x="876300" y="914400"/>
                </a:lnTo>
                <a:lnTo>
                  <a:pt x="938885" y="913251"/>
                </a:lnTo>
                <a:lnTo>
                  <a:pt x="1000282" y="909859"/>
                </a:lnTo>
                <a:lnTo>
                  <a:pt x="1060343" y="904299"/>
                </a:lnTo>
                <a:lnTo>
                  <a:pt x="1118918" y="896649"/>
                </a:lnTo>
                <a:lnTo>
                  <a:pt x="1175861" y="886987"/>
                </a:lnTo>
                <a:lnTo>
                  <a:pt x="1231023" y="875390"/>
                </a:lnTo>
                <a:lnTo>
                  <a:pt x="1284255" y="861935"/>
                </a:lnTo>
                <a:lnTo>
                  <a:pt x="1335410" y="846701"/>
                </a:lnTo>
                <a:lnTo>
                  <a:pt x="1384338" y="829763"/>
                </a:lnTo>
                <a:lnTo>
                  <a:pt x="1430893" y="811200"/>
                </a:lnTo>
                <a:lnTo>
                  <a:pt x="1474925" y="791090"/>
                </a:lnTo>
                <a:lnTo>
                  <a:pt x="1516286" y="769508"/>
                </a:lnTo>
                <a:lnTo>
                  <a:pt x="1554828" y="746534"/>
                </a:lnTo>
                <a:lnTo>
                  <a:pt x="1590404" y="722244"/>
                </a:lnTo>
                <a:lnTo>
                  <a:pt x="1622863" y="696716"/>
                </a:lnTo>
                <a:lnTo>
                  <a:pt x="1652060" y="670026"/>
                </a:lnTo>
                <a:lnTo>
                  <a:pt x="1700068" y="613475"/>
                </a:lnTo>
                <a:lnTo>
                  <a:pt x="1733244" y="553209"/>
                </a:lnTo>
                <a:lnTo>
                  <a:pt x="1750399" y="489847"/>
                </a:lnTo>
                <a:lnTo>
                  <a:pt x="1752600" y="457200"/>
                </a:lnTo>
                <a:lnTo>
                  <a:pt x="1750399" y="424552"/>
                </a:lnTo>
                <a:lnTo>
                  <a:pt x="1733244" y="361190"/>
                </a:lnTo>
                <a:lnTo>
                  <a:pt x="1700068" y="300924"/>
                </a:lnTo>
                <a:lnTo>
                  <a:pt x="1652060" y="244373"/>
                </a:lnTo>
                <a:lnTo>
                  <a:pt x="1622863" y="217683"/>
                </a:lnTo>
                <a:lnTo>
                  <a:pt x="1590404" y="192155"/>
                </a:lnTo>
                <a:lnTo>
                  <a:pt x="1554828" y="167865"/>
                </a:lnTo>
                <a:lnTo>
                  <a:pt x="1516286" y="144891"/>
                </a:lnTo>
                <a:lnTo>
                  <a:pt x="1474925" y="123309"/>
                </a:lnTo>
                <a:lnTo>
                  <a:pt x="1430893" y="103199"/>
                </a:lnTo>
                <a:lnTo>
                  <a:pt x="1384338" y="84636"/>
                </a:lnTo>
                <a:lnTo>
                  <a:pt x="1335410" y="67698"/>
                </a:lnTo>
                <a:lnTo>
                  <a:pt x="1284255" y="52464"/>
                </a:lnTo>
                <a:lnTo>
                  <a:pt x="1231023" y="39009"/>
                </a:lnTo>
                <a:lnTo>
                  <a:pt x="1175861" y="27412"/>
                </a:lnTo>
                <a:lnTo>
                  <a:pt x="1118918" y="17750"/>
                </a:lnTo>
                <a:lnTo>
                  <a:pt x="1060343" y="10100"/>
                </a:lnTo>
                <a:lnTo>
                  <a:pt x="1000282" y="4540"/>
                </a:lnTo>
                <a:lnTo>
                  <a:pt x="938885" y="1148"/>
                </a:lnTo>
                <a:lnTo>
                  <a:pt x="876300" y="0"/>
                </a:lnTo>
                <a:close/>
              </a:path>
            </a:pathLst>
          </a:custGeom>
          <a:solidFill>
            <a:srgbClr val="90C2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595755" y="4749672"/>
            <a:ext cx="6177915" cy="13887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93900" marR="2590800" algn="ctr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Company</a:t>
            </a:r>
            <a:r>
              <a:rPr sz="1800" spc="-8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ode  Data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7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Data on the </a:t>
            </a:r>
            <a:r>
              <a:rPr sz="2000" b="1" spc="-5" dirty="0">
                <a:latin typeface="Times New Roman"/>
                <a:cs typeface="Times New Roman"/>
              </a:rPr>
              <a:t>client level </a:t>
            </a:r>
            <a:r>
              <a:rPr sz="2000" b="1" dirty="0">
                <a:latin typeface="Times New Roman"/>
                <a:cs typeface="Times New Roman"/>
              </a:rPr>
              <a:t>can be used by all company</a:t>
            </a:r>
            <a:r>
              <a:rPr sz="2000" b="1" spc="-135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codes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295400" y="1619250"/>
            <a:ext cx="1676400" cy="120015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295400" y="1447800"/>
            <a:ext cx="1676400" cy="3429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358900" y="1816100"/>
            <a:ext cx="1524000" cy="15113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702689" y="2666746"/>
            <a:ext cx="836930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Ge</a:t>
            </a:r>
            <a:r>
              <a:rPr sz="1800" spc="-15" dirty="0">
                <a:latin typeface="Arial"/>
                <a:cs typeface="Arial"/>
              </a:rPr>
              <a:t>n</a:t>
            </a:r>
            <a:r>
              <a:rPr sz="1800" spc="-10" dirty="0">
                <a:latin typeface="Arial"/>
                <a:cs typeface="Arial"/>
              </a:rPr>
              <a:t>e</a:t>
            </a:r>
            <a:r>
              <a:rPr sz="1800" dirty="0">
                <a:latin typeface="Arial"/>
                <a:cs typeface="Arial"/>
              </a:rPr>
              <a:t>r</a:t>
            </a:r>
            <a:r>
              <a:rPr sz="1800" spc="-10" dirty="0">
                <a:latin typeface="Arial"/>
                <a:cs typeface="Arial"/>
              </a:rPr>
              <a:t>a</a:t>
            </a:r>
            <a:r>
              <a:rPr sz="1800" dirty="0">
                <a:latin typeface="Arial"/>
                <a:cs typeface="Arial"/>
              </a:rPr>
              <a:t>l</a:t>
            </a:r>
            <a:endParaRPr sz="18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803900" y="1619250"/>
            <a:ext cx="1676400" cy="120015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803900" y="1447800"/>
            <a:ext cx="1676400" cy="3429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05500" y="2514600"/>
            <a:ext cx="1524000" cy="762000"/>
          </a:xfrm>
          <a:custGeom>
            <a:avLst/>
            <a:gdLst/>
            <a:ahLst/>
            <a:cxnLst/>
            <a:rect l="l" t="t" r="r" b="b"/>
            <a:pathLst>
              <a:path w="1524000" h="762000">
                <a:moveTo>
                  <a:pt x="762000" y="0"/>
                </a:moveTo>
                <a:lnTo>
                  <a:pt x="699499" y="1262"/>
                </a:lnTo>
                <a:lnTo>
                  <a:pt x="638390" y="4986"/>
                </a:lnTo>
                <a:lnTo>
                  <a:pt x="578870" y="11071"/>
                </a:lnTo>
                <a:lnTo>
                  <a:pt x="521134" y="19421"/>
                </a:lnTo>
                <a:lnTo>
                  <a:pt x="465379" y="29938"/>
                </a:lnTo>
                <a:lnTo>
                  <a:pt x="411800" y="42523"/>
                </a:lnTo>
                <a:lnTo>
                  <a:pt x="360594" y="57078"/>
                </a:lnTo>
                <a:lnTo>
                  <a:pt x="311956" y="73505"/>
                </a:lnTo>
                <a:lnTo>
                  <a:pt x="266083" y="91707"/>
                </a:lnTo>
                <a:lnTo>
                  <a:pt x="223170" y="111585"/>
                </a:lnTo>
                <a:lnTo>
                  <a:pt x="183414" y="133041"/>
                </a:lnTo>
                <a:lnTo>
                  <a:pt x="147011" y="155978"/>
                </a:lnTo>
                <a:lnTo>
                  <a:pt x="114156" y="180297"/>
                </a:lnTo>
                <a:lnTo>
                  <a:pt x="85046" y="205900"/>
                </a:lnTo>
                <a:lnTo>
                  <a:pt x="38843" y="260567"/>
                </a:lnTo>
                <a:lnTo>
                  <a:pt x="9972" y="319195"/>
                </a:lnTo>
                <a:lnTo>
                  <a:pt x="0" y="381000"/>
                </a:lnTo>
                <a:lnTo>
                  <a:pt x="2525" y="412250"/>
                </a:lnTo>
                <a:lnTo>
                  <a:pt x="22143" y="472564"/>
                </a:lnTo>
                <a:lnTo>
                  <a:pt x="59876" y="529310"/>
                </a:lnTo>
                <a:lnTo>
                  <a:pt x="114156" y="581702"/>
                </a:lnTo>
                <a:lnTo>
                  <a:pt x="147011" y="606021"/>
                </a:lnTo>
                <a:lnTo>
                  <a:pt x="183414" y="628958"/>
                </a:lnTo>
                <a:lnTo>
                  <a:pt x="223170" y="650414"/>
                </a:lnTo>
                <a:lnTo>
                  <a:pt x="266083" y="670292"/>
                </a:lnTo>
                <a:lnTo>
                  <a:pt x="311956" y="688494"/>
                </a:lnTo>
                <a:lnTo>
                  <a:pt x="360594" y="704921"/>
                </a:lnTo>
                <a:lnTo>
                  <a:pt x="411800" y="719476"/>
                </a:lnTo>
                <a:lnTo>
                  <a:pt x="465379" y="732061"/>
                </a:lnTo>
                <a:lnTo>
                  <a:pt x="521134" y="742578"/>
                </a:lnTo>
                <a:lnTo>
                  <a:pt x="578870" y="750928"/>
                </a:lnTo>
                <a:lnTo>
                  <a:pt x="638390" y="757013"/>
                </a:lnTo>
                <a:lnTo>
                  <a:pt x="699499" y="760737"/>
                </a:lnTo>
                <a:lnTo>
                  <a:pt x="762000" y="762000"/>
                </a:lnTo>
                <a:lnTo>
                  <a:pt x="824500" y="760737"/>
                </a:lnTo>
                <a:lnTo>
                  <a:pt x="885609" y="757013"/>
                </a:lnTo>
                <a:lnTo>
                  <a:pt x="945129" y="750928"/>
                </a:lnTo>
                <a:lnTo>
                  <a:pt x="1002865" y="742578"/>
                </a:lnTo>
                <a:lnTo>
                  <a:pt x="1058620" y="732061"/>
                </a:lnTo>
                <a:lnTo>
                  <a:pt x="1112199" y="719476"/>
                </a:lnTo>
                <a:lnTo>
                  <a:pt x="1163405" y="704921"/>
                </a:lnTo>
                <a:lnTo>
                  <a:pt x="1212043" y="688494"/>
                </a:lnTo>
                <a:lnTo>
                  <a:pt x="1257916" y="670292"/>
                </a:lnTo>
                <a:lnTo>
                  <a:pt x="1300829" y="650414"/>
                </a:lnTo>
                <a:lnTo>
                  <a:pt x="1340585" y="628958"/>
                </a:lnTo>
                <a:lnTo>
                  <a:pt x="1376988" y="606021"/>
                </a:lnTo>
                <a:lnTo>
                  <a:pt x="1409843" y="581702"/>
                </a:lnTo>
                <a:lnTo>
                  <a:pt x="1438953" y="556099"/>
                </a:lnTo>
                <a:lnTo>
                  <a:pt x="1485156" y="501432"/>
                </a:lnTo>
                <a:lnTo>
                  <a:pt x="1514027" y="442804"/>
                </a:lnTo>
                <a:lnTo>
                  <a:pt x="1524000" y="381000"/>
                </a:lnTo>
                <a:lnTo>
                  <a:pt x="1521474" y="349749"/>
                </a:lnTo>
                <a:lnTo>
                  <a:pt x="1501856" y="289435"/>
                </a:lnTo>
                <a:lnTo>
                  <a:pt x="1464123" y="232689"/>
                </a:lnTo>
                <a:lnTo>
                  <a:pt x="1409843" y="180297"/>
                </a:lnTo>
                <a:lnTo>
                  <a:pt x="1376988" y="155978"/>
                </a:lnTo>
                <a:lnTo>
                  <a:pt x="1340585" y="133041"/>
                </a:lnTo>
                <a:lnTo>
                  <a:pt x="1300829" y="111585"/>
                </a:lnTo>
                <a:lnTo>
                  <a:pt x="1257916" y="91707"/>
                </a:lnTo>
                <a:lnTo>
                  <a:pt x="1212043" y="73505"/>
                </a:lnTo>
                <a:lnTo>
                  <a:pt x="1163405" y="57078"/>
                </a:lnTo>
                <a:lnTo>
                  <a:pt x="1112199" y="42523"/>
                </a:lnTo>
                <a:lnTo>
                  <a:pt x="1058620" y="29938"/>
                </a:lnTo>
                <a:lnTo>
                  <a:pt x="1002865" y="19421"/>
                </a:lnTo>
                <a:lnTo>
                  <a:pt x="945129" y="11071"/>
                </a:lnTo>
                <a:lnTo>
                  <a:pt x="885609" y="4986"/>
                </a:lnTo>
                <a:lnTo>
                  <a:pt x="824500" y="1262"/>
                </a:lnTo>
                <a:lnTo>
                  <a:pt x="762000" y="0"/>
                </a:lnTo>
                <a:close/>
              </a:path>
            </a:pathLst>
          </a:custGeom>
          <a:solidFill>
            <a:srgbClr val="C3A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6104890" y="2615819"/>
            <a:ext cx="1128395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21945" marR="5080" indent="-30988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Sales</a:t>
            </a:r>
            <a:r>
              <a:rPr sz="1800" spc="-18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rea  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011417" y="1828800"/>
            <a:ext cx="1075181" cy="6096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44800" y="1866900"/>
            <a:ext cx="533400" cy="304800"/>
          </a:xfrm>
          <a:custGeom>
            <a:avLst/>
            <a:gdLst/>
            <a:ahLst/>
            <a:cxnLst/>
            <a:rect l="l" t="t" r="r" b="b"/>
            <a:pathLst>
              <a:path w="533400" h="304800">
                <a:moveTo>
                  <a:pt x="400050" y="0"/>
                </a:moveTo>
                <a:lnTo>
                  <a:pt x="400050" y="76200"/>
                </a:lnTo>
                <a:lnTo>
                  <a:pt x="0" y="76200"/>
                </a:lnTo>
                <a:lnTo>
                  <a:pt x="66675" y="152400"/>
                </a:lnTo>
                <a:lnTo>
                  <a:pt x="0" y="228600"/>
                </a:lnTo>
                <a:lnTo>
                  <a:pt x="400050" y="228600"/>
                </a:lnTo>
                <a:lnTo>
                  <a:pt x="400050" y="304800"/>
                </a:lnTo>
                <a:lnTo>
                  <a:pt x="533400" y="152400"/>
                </a:lnTo>
                <a:lnTo>
                  <a:pt x="400050" y="0"/>
                </a:lnTo>
                <a:close/>
              </a:path>
            </a:pathLst>
          </a:custGeom>
          <a:solidFill>
            <a:srgbClr val="FFE6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844800" y="1866900"/>
            <a:ext cx="533400" cy="304800"/>
          </a:xfrm>
          <a:custGeom>
            <a:avLst/>
            <a:gdLst/>
            <a:ahLst/>
            <a:cxnLst/>
            <a:rect l="l" t="t" r="r" b="b"/>
            <a:pathLst>
              <a:path w="533400" h="304800">
                <a:moveTo>
                  <a:pt x="0" y="76200"/>
                </a:moveTo>
                <a:lnTo>
                  <a:pt x="400050" y="76200"/>
                </a:lnTo>
                <a:lnTo>
                  <a:pt x="400050" y="0"/>
                </a:lnTo>
                <a:lnTo>
                  <a:pt x="533400" y="152400"/>
                </a:lnTo>
                <a:lnTo>
                  <a:pt x="400050" y="304800"/>
                </a:lnTo>
                <a:lnTo>
                  <a:pt x="400050" y="228600"/>
                </a:lnTo>
                <a:lnTo>
                  <a:pt x="0" y="228600"/>
                </a:lnTo>
                <a:lnTo>
                  <a:pt x="66675" y="152400"/>
                </a:lnTo>
                <a:lnTo>
                  <a:pt x="0" y="76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384800" y="1866900"/>
            <a:ext cx="533400" cy="304800"/>
          </a:xfrm>
          <a:custGeom>
            <a:avLst/>
            <a:gdLst/>
            <a:ahLst/>
            <a:cxnLst/>
            <a:rect l="l" t="t" r="r" b="b"/>
            <a:pathLst>
              <a:path w="533400" h="304800">
                <a:moveTo>
                  <a:pt x="133350" y="0"/>
                </a:moveTo>
                <a:lnTo>
                  <a:pt x="0" y="152400"/>
                </a:lnTo>
                <a:lnTo>
                  <a:pt x="133350" y="304800"/>
                </a:lnTo>
                <a:lnTo>
                  <a:pt x="133350" y="228600"/>
                </a:lnTo>
                <a:lnTo>
                  <a:pt x="533400" y="228600"/>
                </a:lnTo>
                <a:lnTo>
                  <a:pt x="466725" y="152400"/>
                </a:lnTo>
                <a:lnTo>
                  <a:pt x="533400" y="76200"/>
                </a:lnTo>
                <a:lnTo>
                  <a:pt x="133350" y="76200"/>
                </a:lnTo>
                <a:lnTo>
                  <a:pt x="133350" y="0"/>
                </a:lnTo>
                <a:close/>
              </a:path>
            </a:pathLst>
          </a:custGeom>
          <a:solidFill>
            <a:srgbClr val="C3A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384800" y="1866900"/>
            <a:ext cx="533400" cy="304800"/>
          </a:xfrm>
          <a:custGeom>
            <a:avLst/>
            <a:gdLst/>
            <a:ahLst/>
            <a:cxnLst/>
            <a:rect l="l" t="t" r="r" b="b"/>
            <a:pathLst>
              <a:path w="533400" h="304800">
                <a:moveTo>
                  <a:pt x="533400" y="228600"/>
                </a:moveTo>
                <a:lnTo>
                  <a:pt x="133350" y="228600"/>
                </a:lnTo>
                <a:lnTo>
                  <a:pt x="133350" y="304800"/>
                </a:lnTo>
                <a:lnTo>
                  <a:pt x="0" y="152400"/>
                </a:lnTo>
                <a:lnTo>
                  <a:pt x="133350" y="0"/>
                </a:lnTo>
                <a:lnTo>
                  <a:pt x="133350" y="76200"/>
                </a:lnTo>
                <a:lnTo>
                  <a:pt x="533400" y="76200"/>
                </a:lnTo>
                <a:lnTo>
                  <a:pt x="466725" y="152400"/>
                </a:lnTo>
                <a:lnTo>
                  <a:pt x="533400" y="228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152900" y="2933700"/>
            <a:ext cx="304800" cy="533400"/>
          </a:xfrm>
          <a:custGeom>
            <a:avLst/>
            <a:gdLst/>
            <a:ahLst/>
            <a:cxnLst/>
            <a:rect l="l" t="t" r="r" b="b"/>
            <a:pathLst>
              <a:path w="304800" h="533400">
                <a:moveTo>
                  <a:pt x="228600" y="133350"/>
                </a:moveTo>
                <a:lnTo>
                  <a:pt x="76200" y="133350"/>
                </a:lnTo>
                <a:lnTo>
                  <a:pt x="76200" y="533400"/>
                </a:lnTo>
                <a:lnTo>
                  <a:pt x="152400" y="466725"/>
                </a:lnTo>
                <a:lnTo>
                  <a:pt x="228600" y="466725"/>
                </a:lnTo>
                <a:lnTo>
                  <a:pt x="228600" y="133350"/>
                </a:lnTo>
                <a:close/>
              </a:path>
              <a:path w="304800" h="533400">
                <a:moveTo>
                  <a:pt x="228600" y="466725"/>
                </a:moveTo>
                <a:lnTo>
                  <a:pt x="152400" y="466725"/>
                </a:lnTo>
                <a:lnTo>
                  <a:pt x="228600" y="533400"/>
                </a:lnTo>
                <a:lnTo>
                  <a:pt x="228600" y="466725"/>
                </a:lnTo>
                <a:close/>
              </a:path>
              <a:path w="304800" h="533400">
                <a:moveTo>
                  <a:pt x="152400" y="0"/>
                </a:moveTo>
                <a:lnTo>
                  <a:pt x="0" y="133350"/>
                </a:lnTo>
                <a:lnTo>
                  <a:pt x="304800" y="133350"/>
                </a:lnTo>
                <a:lnTo>
                  <a:pt x="152400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152900" y="2933700"/>
            <a:ext cx="304800" cy="533400"/>
          </a:xfrm>
          <a:custGeom>
            <a:avLst/>
            <a:gdLst/>
            <a:ahLst/>
            <a:cxnLst/>
            <a:rect l="l" t="t" r="r" b="b"/>
            <a:pathLst>
              <a:path w="304800" h="533400">
                <a:moveTo>
                  <a:pt x="76200" y="533400"/>
                </a:moveTo>
                <a:lnTo>
                  <a:pt x="76200" y="133350"/>
                </a:lnTo>
                <a:lnTo>
                  <a:pt x="0" y="133350"/>
                </a:lnTo>
                <a:lnTo>
                  <a:pt x="152400" y="0"/>
                </a:lnTo>
                <a:lnTo>
                  <a:pt x="304800" y="133350"/>
                </a:lnTo>
                <a:lnTo>
                  <a:pt x="228600" y="133350"/>
                </a:lnTo>
                <a:lnTo>
                  <a:pt x="228600" y="533400"/>
                </a:lnTo>
                <a:lnTo>
                  <a:pt x="152400" y="466725"/>
                </a:lnTo>
                <a:lnTo>
                  <a:pt x="76200" y="533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784600" y="3733800"/>
            <a:ext cx="1092200" cy="80797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8363711" y="260604"/>
            <a:ext cx="78028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Master Data – Customer</a:t>
            </a:r>
            <a:r>
              <a:rPr spc="-75" dirty="0"/>
              <a:t> </a:t>
            </a:r>
            <a:r>
              <a:rPr dirty="0"/>
              <a:t>Master</a:t>
            </a:r>
          </a:p>
        </p:txBody>
      </p:sp>
      <p:sp>
        <p:nvSpPr>
          <p:cNvPr id="8" name="object 8"/>
          <p:cNvSpPr/>
          <p:nvPr/>
        </p:nvSpPr>
        <p:spPr>
          <a:xfrm>
            <a:off x="330200" y="1676400"/>
            <a:ext cx="2133600" cy="838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30200" y="1676400"/>
            <a:ext cx="2133600" cy="838200"/>
          </a:xfrm>
          <a:custGeom>
            <a:avLst/>
            <a:gdLst/>
            <a:ahLst/>
            <a:cxnLst/>
            <a:rect l="l" t="t" r="r" b="b"/>
            <a:pathLst>
              <a:path w="2133600" h="838200">
                <a:moveTo>
                  <a:pt x="0" y="838200"/>
                </a:moveTo>
                <a:lnTo>
                  <a:pt x="2133600" y="838200"/>
                </a:lnTo>
                <a:lnTo>
                  <a:pt x="2133600" y="0"/>
                </a:lnTo>
                <a:lnTo>
                  <a:pt x="0" y="0"/>
                </a:lnTo>
                <a:lnTo>
                  <a:pt x="0" y="838200"/>
                </a:lnTo>
                <a:close/>
              </a:path>
            </a:pathLst>
          </a:custGeom>
          <a:ln w="9525">
            <a:solidFill>
              <a:srgbClr val="0073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81024" y="1952497"/>
            <a:ext cx="143319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General</a:t>
            </a:r>
            <a:r>
              <a:rPr sz="1800" b="1" spc="-8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30200" y="2514600"/>
            <a:ext cx="0" cy="2895600"/>
          </a:xfrm>
          <a:custGeom>
            <a:avLst/>
            <a:gdLst/>
            <a:ahLst/>
            <a:cxnLst/>
            <a:rect l="l" t="t" r="r" b="b"/>
            <a:pathLst>
              <a:path h="2895600">
                <a:moveTo>
                  <a:pt x="0" y="0"/>
                </a:moveTo>
                <a:lnTo>
                  <a:pt x="0" y="2895600"/>
                </a:lnTo>
              </a:path>
            </a:pathLst>
          </a:custGeom>
          <a:ln w="9525">
            <a:solidFill>
              <a:srgbClr val="1F1F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58658" y="30178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06065" y="30156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06400" y="30262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16497" y="32742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06065" y="30216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773112" y="2940050"/>
            <a:ext cx="99568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15" dirty="0">
                <a:solidFill>
                  <a:srgbClr val="B1B1B1"/>
                </a:solidFill>
                <a:latin typeface="Arial"/>
                <a:cs typeface="Arial"/>
              </a:rPr>
              <a:t>Addres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58658" y="34750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06065" y="34728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06400" y="34834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16497" y="37314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06065" y="34788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73112" y="3397250"/>
            <a:ext cx="140335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Control</a:t>
            </a:r>
            <a:r>
              <a:rPr sz="1600" b="1" spc="-75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Data</a:t>
            </a:r>
            <a:endParaRPr sz="16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58658" y="3886263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06065" y="3884062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06400" y="3894638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06065" y="3890101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73112" y="3854450"/>
            <a:ext cx="1144905" cy="336550"/>
          </a:xfrm>
          <a:custGeom>
            <a:avLst/>
            <a:gdLst/>
            <a:ahLst/>
            <a:cxnLst/>
            <a:rect l="l" t="t" r="r" b="b"/>
            <a:pathLst>
              <a:path w="1144905" h="336550">
                <a:moveTo>
                  <a:pt x="0" y="336550"/>
                </a:moveTo>
                <a:lnTo>
                  <a:pt x="1144587" y="336550"/>
                </a:lnTo>
                <a:lnTo>
                  <a:pt x="1144587" y="0"/>
                </a:lnTo>
                <a:lnTo>
                  <a:pt x="0" y="0"/>
                </a:lnTo>
                <a:lnTo>
                  <a:pt x="0" y="336550"/>
                </a:lnTo>
                <a:close/>
              </a:path>
            </a:pathLst>
          </a:custGeom>
          <a:solidFill>
            <a:srgbClr val="0033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58658" y="43132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06065" y="43110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06400" y="43216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06065" y="43170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403797" y="3895725"/>
            <a:ext cx="1514475" cy="636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17500" algn="l"/>
                <a:tab pos="460375" algn="l"/>
              </a:tabLst>
            </a:pPr>
            <a:r>
              <a:rPr sz="1600" b="1" u="sng" spc="-5" dirty="0">
                <a:solidFill>
                  <a:srgbClr val="B1B1B1"/>
                </a:solidFill>
                <a:latin typeface="Arial"/>
                <a:cs typeface="Arial"/>
              </a:rPr>
              <a:t> 	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	Marketing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  <a:tabLst>
                <a:tab pos="317500" algn="l"/>
              </a:tabLst>
            </a:pPr>
            <a:r>
              <a:rPr sz="1600" b="1" u="sng" spc="-5" dirty="0">
                <a:solidFill>
                  <a:srgbClr val="B1B1B1"/>
                </a:solidFill>
                <a:latin typeface="Arial"/>
                <a:cs typeface="Arial"/>
              </a:rPr>
              <a:t> 	</a:t>
            </a:r>
            <a:endParaRPr sz="16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73112" y="4235450"/>
            <a:ext cx="2351405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10" dirty="0">
                <a:solidFill>
                  <a:srgbClr val="B1B1B1"/>
                </a:solidFill>
                <a:latin typeface="Arial"/>
                <a:cs typeface="Arial"/>
              </a:rPr>
              <a:t>Payment</a:t>
            </a:r>
            <a:r>
              <a:rPr sz="1600" b="1" spc="5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B1B1B1"/>
                </a:solidFill>
                <a:latin typeface="Arial"/>
                <a:cs typeface="Arial"/>
              </a:rPr>
              <a:t>Transaction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58658" y="472598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06065" y="472378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06400" y="473436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16497" y="498236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06065" y="472982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773112" y="4648200"/>
            <a:ext cx="185420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Unloading</a:t>
            </a:r>
            <a:r>
              <a:rPr sz="1600" b="1" spc="-7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Poin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665008" y="51514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12415" y="51492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12750" y="51598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22847" y="54078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12415" y="51552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779462" y="5073650"/>
            <a:ext cx="1684655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Contact</a:t>
            </a:r>
            <a:r>
              <a:rPr sz="1600" b="1" spc="-7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Pers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6362700" y="1676400"/>
            <a:ext cx="2133600" cy="838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362700" y="1676400"/>
            <a:ext cx="2133600" cy="838200"/>
          </a:xfrm>
          <a:custGeom>
            <a:avLst/>
            <a:gdLst/>
            <a:ahLst/>
            <a:cxnLst/>
            <a:rect l="l" t="t" r="r" b="b"/>
            <a:pathLst>
              <a:path w="2133600" h="838200">
                <a:moveTo>
                  <a:pt x="0" y="838200"/>
                </a:moveTo>
                <a:lnTo>
                  <a:pt x="2133600" y="838200"/>
                </a:lnTo>
                <a:lnTo>
                  <a:pt x="2133600" y="0"/>
                </a:lnTo>
                <a:lnTo>
                  <a:pt x="0" y="0"/>
                </a:lnTo>
                <a:lnTo>
                  <a:pt x="0" y="838200"/>
                </a:lnTo>
                <a:close/>
              </a:path>
            </a:pathLst>
          </a:custGeom>
          <a:ln w="9525">
            <a:solidFill>
              <a:srgbClr val="0073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6558788" y="1952497"/>
            <a:ext cx="174180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Sales </a:t>
            </a:r>
            <a:r>
              <a:rPr sz="1800" b="1" spc="-15" dirty="0">
                <a:solidFill>
                  <a:srgbClr val="B1B1B1"/>
                </a:solidFill>
                <a:latin typeface="Arial"/>
                <a:cs typeface="Arial"/>
              </a:rPr>
              <a:t>Area</a:t>
            </a:r>
            <a:r>
              <a:rPr sz="1800" b="1" spc="-10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6687984" y="30178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435390" y="30156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435725" y="30262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445822" y="32742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435390" y="30216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359525" y="2514600"/>
            <a:ext cx="3175" cy="2133600"/>
          </a:xfrm>
          <a:custGeom>
            <a:avLst/>
            <a:gdLst/>
            <a:ahLst/>
            <a:cxnLst/>
            <a:rect l="l" t="t" r="r" b="b"/>
            <a:pathLst>
              <a:path w="3175" h="2133600">
                <a:moveTo>
                  <a:pt x="0" y="0"/>
                </a:moveTo>
                <a:lnTo>
                  <a:pt x="3175" y="21336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6802501" y="2940050"/>
            <a:ext cx="714375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Sal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6687984" y="34750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35390" y="34728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35725" y="34834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7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7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445822" y="37314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435390" y="34788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 txBox="1"/>
          <p:nvPr/>
        </p:nvSpPr>
        <p:spPr>
          <a:xfrm>
            <a:off x="6802501" y="3397250"/>
            <a:ext cx="105283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Shipp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6687984" y="39322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435390" y="39300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435725" y="39406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445822" y="41886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435390" y="39360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 txBox="1"/>
          <p:nvPr/>
        </p:nvSpPr>
        <p:spPr>
          <a:xfrm>
            <a:off x="6802501" y="3854450"/>
            <a:ext cx="80645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Bi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6691159" y="43894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438565" y="43872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438900" y="43978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448997" y="46458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438565" y="43932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6819900" y="4311650"/>
            <a:ext cx="186690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Partner</a:t>
            </a:r>
            <a:r>
              <a:rPr sz="1600" b="1" spc="-85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functions</a:t>
            </a:r>
            <a:endParaRPr sz="1600">
              <a:latin typeface="Arial"/>
              <a:cs typeface="Arial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3302000" y="1676400"/>
            <a:ext cx="2133600" cy="838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302000" y="1676400"/>
            <a:ext cx="2133600" cy="838200"/>
          </a:xfrm>
          <a:custGeom>
            <a:avLst/>
            <a:gdLst/>
            <a:ahLst/>
            <a:cxnLst/>
            <a:rect l="l" t="t" r="r" b="b"/>
            <a:pathLst>
              <a:path w="2133600" h="838200">
                <a:moveTo>
                  <a:pt x="0" y="838200"/>
                </a:moveTo>
                <a:lnTo>
                  <a:pt x="2133600" y="838200"/>
                </a:lnTo>
                <a:lnTo>
                  <a:pt x="2133600" y="0"/>
                </a:lnTo>
                <a:lnTo>
                  <a:pt x="0" y="0"/>
                </a:lnTo>
                <a:lnTo>
                  <a:pt x="0" y="838200"/>
                </a:lnTo>
                <a:close/>
              </a:path>
            </a:pathLst>
          </a:custGeom>
          <a:ln w="9525">
            <a:solidFill>
              <a:srgbClr val="0073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3519042" y="1815338"/>
            <a:ext cx="1701164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Company</a:t>
            </a:r>
            <a:r>
              <a:rPr sz="1800" b="1" spc="-8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B1B1B1"/>
                </a:solidFill>
                <a:latin typeface="Arial"/>
                <a:cs typeface="Arial"/>
              </a:rPr>
              <a:t>Code</a:t>
            </a:r>
            <a:endParaRPr sz="18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800" b="1" spc="-5" dirty="0">
                <a:solidFill>
                  <a:srgbClr val="B1B1B1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3302000" y="2514600"/>
            <a:ext cx="0" cy="2133600"/>
          </a:xfrm>
          <a:custGeom>
            <a:avLst/>
            <a:gdLst/>
            <a:ahLst/>
            <a:cxnLst/>
            <a:rect l="l" t="t" r="r" b="b"/>
            <a:pathLst>
              <a:path h="2133600">
                <a:moveTo>
                  <a:pt x="0" y="0"/>
                </a:moveTo>
                <a:lnTo>
                  <a:pt x="0" y="2133600"/>
                </a:lnTo>
              </a:path>
            </a:pathLst>
          </a:custGeom>
          <a:ln w="9525">
            <a:solidFill>
              <a:srgbClr val="1F1F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630458" y="30178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377865" y="30156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378200" y="30262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388297" y="32742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377865" y="30216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3744976" y="2940050"/>
            <a:ext cx="2294255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15" dirty="0">
                <a:solidFill>
                  <a:srgbClr val="B1B1B1"/>
                </a:solidFill>
                <a:latin typeface="Arial"/>
                <a:cs typeface="Arial"/>
              </a:rPr>
              <a:t>Account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 Manageme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3630458" y="34750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377865" y="34728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378200" y="34834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388297" y="3731416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593" y="0"/>
                </a:lnTo>
              </a:path>
            </a:pathLst>
          </a:custGeom>
          <a:ln w="47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377865" y="34788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3744976" y="3397250"/>
            <a:ext cx="2351405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10" dirty="0">
                <a:solidFill>
                  <a:srgbClr val="B1B1B1"/>
                </a:solidFill>
                <a:latin typeface="Arial"/>
                <a:cs typeface="Arial"/>
              </a:rPr>
              <a:t>Payment</a:t>
            </a:r>
            <a:r>
              <a:rPr sz="1600" b="1" spc="5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B1B1B1"/>
                </a:solidFill>
                <a:latin typeface="Arial"/>
                <a:cs typeface="Arial"/>
              </a:rPr>
              <a:t>Transactions</a:t>
            </a:r>
            <a:endParaRPr sz="1600">
              <a:latin typeface="Arial"/>
              <a:cs typeface="Arial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3630458" y="3886263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377865" y="3884062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378200" y="3894638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377865" y="3890101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3744976" y="3854450"/>
            <a:ext cx="1795780" cy="336550"/>
          </a:xfrm>
          <a:prstGeom prst="rect">
            <a:avLst/>
          </a:prstGeom>
          <a:solidFill>
            <a:srgbClr val="003366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Corresponden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3630458" y="4313237"/>
            <a:ext cx="20955" cy="259079"/>
          </a:xfrm>
          <a:custGeom>
            <a:avLst/>
            <a:gdLst/>
            <a:ahLst/>
            <a:cxnLst/>
            <a:rect l="l" t="t" r="r" b="b"/>
            <a:pathLst>
              <a:path w="20954" h="259079">
                <a:moveTo>
                  <a:pt x="0" y="8374"/>
                </a:moveTo>
                <a:lnTo>
                  <a:pt x="0" y="258762"/>
                </a:lnTo>
                <a:lnTo>
                  <a:pt x="20863" y="258762"/>
                </a:lnTo>
                <a:lnTo>
                  <a:pt x="20863" y="18960"/>
                </a:lnTo>
                <a:lnTo>
                  <a:pt x="10431" y="18960"/>
                </a:lnTo>
                <a:lnTo>
                  <a:pt x="0" y="8374"/>
                </a:lnTo>
                <a:close/>
              </a:path>
              <a:path w="20954" h="259079">
                <a:moveTo>
                  <a:pt x="12602" y="0"/>
                </a:moveTo>
                <a:lnTo>
                  <a:pt x="10431" y="0"/>
                </a:lnTo>
                <a:lnTo>
                  <a:pt x="10431" y="18960"/>
                </a:lnTo>
                <a:lnTo>
                  <a:pt x="20863" y="18960"/>
                </a:lnTo>
                <a:lnTo>
                  <a:pt x="20863" y="8374"/>
                </a:lnTo>
                <a:lnTo>
                  <a:pt x="12602" y="0"/>
                </a:lnTo>
                <a:close/>
              </a:path>
              <a:path w="20954" h="259079">
                <a:moveTo>
                  <a:pt x="20863" y="0"/>
                </a:moveTo>
                <a:lnTo>
                  <a:pt x="12602" y="0"/>
                </a:lnTo>
                <a:lnTo>
                  <a:pt x="20863" y="8374"/>
                </a:lnTo>
                <a:lnTo>
                  <a:pt x="208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377865" y="4311036"/>
            <a:ext cx="263525" cy="21590"/>
          </a:xfrm>
          <a:custGeom>
            <a:avLst/>
            <a:gdLst/>
            <a:ahLst/>
            <a:cxnLst/>
            <a:rect l="l" t="t" r="r" b="b"/>
            <a:pathLst>
              <a:path w="263525" h="21589">
                <a:moveTo>
                  <a:pt x="263024" y="0"/>
                </a:moveTo>
                <a:lnTo>
                  <a:pt x="10431" y="0"/>
                </a:lnTo>
                <a:lnTo>
                  <a:pt x="0" y="10575"/>
                </a:lnTo>
                <a:lnTo>
                  <a:pt x="20863" y="10575"/>
                </a:lnTo>
                <a:lnTo>
                  <a:pt x="10431" y="21161"/>
                </a:lnTo>
                <a:lnTo>
                  <a:pt x="263024" y="21161"/>
                </a:lnTo>
                <a:lnTo>
                  <a:pt x="263024" y="0"/>
                </a:lnTo>
                <a:close/>
              </a:path>
              <a:path w="263525" h="21589">
                <a:moveTo>
                  <a:pt x="10431" y="0"/>
                </a:moveTo>
                <a:lnTo>
                  <a:pt x="0" y="0"/>
                </a:lnTo>
                <a:lnTo>
                  <a:pt x="0" y="10575"/>
                </a:lnTo>
                <a:lnTo>
                  <a:pt x="1043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378200" y="4321612"/>
            <a:ext cx="20955" cy="250825"/>
          </a:xfrm>
          <a:custGeom>
            <a:avLst/>
            <a:gdLst/>
            <a:ahLst/>
            <a:cxnLst/>
            <a:rect l="l" t="t" r="r" b="b"/>
            <a:pathLst>
              <a:path w="20954" h="250825">
                <a:moveTo>
                  <a:pt x="20529" y="0"/>
                </a:moveTo>
                <a:lnTo>
                  <a:pt x="0" y="0"/>
                </a:lnTo>
                <a:lnTo>
                  <a:pt x="0" y="250387"/>
                </a:lnTo>
                <a:lnTo>
                  <a:pt x="10097" y="250387"/>
                </a:lnTo>
                <a:lnTo>
                  <a:pt x="10097" y="245621"/>
                </a:lnTo>
                <a:lnTo>
                  <a:pt x="20529" y="245621"/>
                </a:lnTo>
                <a:lnTo>
                  <a:pt x="20529" y="0"/>
                </a:lnTo>
                <a:close/>
              </a:path>
              <a:path w="20954" h="250825">
                <a:moveTo>
                  <a:pt x="10097" y="245621"/>
                </a:moveTo>
                <a:lnTo>
                  <a:pt x="10097" y="250387"/>
                </a:lnTo>
                <a:lnTo>
                  <a:pt x="14796" y="250387"/>
                </a:lnTo>
                <a:lnTo>
                  <a:pt x="10097" y="245621"/>
                </a:lnTo>
                <a:close/>
              </a:path>
              <a:path w="20954" h="250825">
                <a:moveTo>
                  <a:pt x="20529" y="245621"/>
                </a:moveTo>
                <a:lnTo>
                  <a:pt x="10097" y="245621"/>
                </a:lnTo>
                <a:lnTo>
                  <a:pt x="14796" y="250387"/>
                </a:lnTo>
                <a:lnTo>
                  <a:pt x="20529" y="250387"/>
                </a:lnTo>
                <a:lnTo>
                  <a:pt x="20529" y="245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377865" y="4317075"/>
            <a:ext cx="301625" cy="254000"/>
          </a:xfrm>
          <a:custGeom>
            <a:avLst/>
            <a:gdLst/>
            <a:ahLst/>
            <a:cxnLst/>
            <a:rect l="l" t="t" r="r" b="b"/>
            <a:pathLst>
              <a:path w="301625" h="254000">
                <a:moveTo>
                  <a:pt x="39491" y="89942"/>
                </a:moveTo>
                <a:lnTo>
                  <a:pt x="35020" y="95230"/>
                </a:lnTo>
                <a:lnTo>
                  <a:pt x="22353" y="108079"/>
                </a:lnTo>
                <a:lnTo>
                  <a:pt x="8941" y="120166"/>
                </a:lnTo>
                <a:lnTo>
                  <a:pt x="4470" y="125454"/>
                </a:lnTo>
                <a:lnTo>
                  <a:pt x="745" y="129240"/>
                </a:lnTo>
                <a:lnTo>
                  <a:pt x="0" y="131503"/>
                </a:lnTo>
                <a:lnTo>
                  <a:pt x="5215" y="139815"/>
                </a:lnTo>
                <a:lnTo>
                  <a:pt x="15647" y="157956"/>
                </a:lnTo>
                <a:lnTo>
                  <a:pt x="29059" y="182896"/>
                </a:lnTo>
                <a:lnTo>
                  <a:pt x="32785" y="190454"/>
                </a:lnTo>
                <a:lnTo>
                  <a:pt x="36511" y="197255"/>
                </a:lnTo>
                <a:lnTo>
                  <a:pt x="39491" y="203301"/>
                </a:lnTo>
                <a:lnTo>
                  <a:pt x="46942" y="216905"/>
                </a:lnTo>
                <a:lnTo>
                  <a:pt x="50668" y="224462"/>
                </a:lnTo>
                <a:lnTo>
                  <a:pt x="56628" y="239577"/>
                </a:lnTo>
                <a:lnTo>
                  <a:pt x="58864" y="246379"/>
                </a:lnTo>
                <a:lnTo>
                  <a:pt x="60354" y="253937"/>
                </a:lnTo>
                <a:lnTo>
                  <a:pt x="70041" y="241845"/>
                </a:lnTo>
                <a:lnTo>
                  <a:pt x="78982" y="230508"/>
                </a:lnTo>
                <a:lnTo>
                  <a:pt x="93885" y="212370"/>
                </a:lnTo>
                <a:lnTo>
                  <a:pt x="108041" y="198011"/>
                </a:lnTo>
                <a:lnTo>
                  <a:pt x="114008" y="191209"/>
                </a:lnTo>
                <a:lnTo>
                  <a:pt x="122945" y="182141"/>
                </a:lnTo>
                <a:lnTo>
                  <a:pt x="82707" y="182141"/>
                </a:lnTo>
                <a:lnTo>
                  <a:pt x="78237" y="170048"/>
                </a:lnTo>
                <a:lnTo>
                  <a:pt x="73766" y="159467"/>
                </a:lnTo>
                <a:lnTo>
                  <a:pt x="70786" y="151154"/>
                </a:lnTo>
                <a:lnTo>
                  <a:pt x="67060" y="145113"/>
                </a:lnTo>
                <a:lnTo>
                  <a:pt x="64080" y="140577"/>
                </a:lnTo>
                <a:lnTo>
                  <a:pt x="61844" y="134528"/>
                </a:lnTo>
                <a:lnTo>
                  <a:pt x="58119" y="128479"/>
                </a:lnTo>
                <a:lnTo>
                  <a:pt x="55139" y="121679"/>
                </a:lnTo>
                <a:lnTo>
                  <a:pt x="47687" y="106567"/>
                </a:lnTo>
                <a:lnTo>
                  <a:pt x="43962" y="98254"/>
                </a:lnTo>
                <a:lnTo>
                  <a:pt x="39491" y="89942"/>
                </a:lnTo>
                <a:close/>
              </a:path>
              <a:path w="301625" h="254000">
                <a:moveTo>
                  <a:pt x="266008" y="0"/>
                </a:moveTo>
                <a:lnTo>
                  <a:pt x="258559" y="3024"/>
                </a:lnTo>
                <a:lnTo>
                  <a:pt x="249619" y="7561"/>
                </a:lnTo>
                <a:lnTo>
                  <a:pt x="240669" y="13610"/>
                </a:lnTo>
                <a:lnTo>
                  <a:pt x="231729" y="21161"/>
                </a:lnTo>
                <a:lnTo>
                  <a:pt x="222789" y="27971"/>
                </a:lnTo>
                <a:lnTo>
                  <a:pt x="213849" y="35522"/>
                </a:lnTo>
                <a:lnTo>
                  <a:pt x="205650" y="43083"/>
                </a:lnTo>
                <a:lnTo>
                  <a:pt x="198202" y="49132"/>
                </a:lnTo>
                <a:lnTo>
                  <a:pt x="190002" y="55932"/>
                </a:lnTo>
                <a:lnTo>
                  <a:pt x="181062" y="65757"/>
                </a:lnTo>
                <a:lnTo>
                  <a:pt x="160199" y="88430"/>
                </a:lnTo>
                <a:lnTo>
                  <a:pt x="149767" y="100518"/>
                </a:lnTo>
                <a:lnTo>
                  <a:pt x="140087" y="111854"/>
                </a:lnTo>
                <a:lnTo>
                  <a:pt x="131888" y="121679"/>
                </a:lnTo>
                <a:lnTo>
                  <a:pt x="125921" y="128479"/>
                </a:lnTo>
                <a:lnTo>
                  <a:pt x="120705" y="134528"/>
                </a:lnTo>
                <a:lnTo>
                  <a:pt x="114748" y="141328"/>
                </a:lnTo>
                <a:lnTo>
                  <a:pt x="104317" y="154934"/>
                </a:lnTo>
                <a:lnTo>
                  <a:pt x="98355" y="162491"/>
                </a:lnTo>
                <a:lnTo>
                  <a:pt x="87923" y="176094"/>
                </a:lnTo>
                <a:lnTo>
                  <a:pt x="82707" y="182141"/>
                </a:lnTo>
                <a:lnTo>
                  <a:pt x="122945" y="182141"/>
                </a:lnTo>
                <a:lnTo>
                  <a:pt x="128904" y="176094"/>
                </a:lnTo>
                <a:lnTo>
                  <a:pt x="139336" y="164758"/>
                </a:lnTo>
                <a:lnTo>
                  <a:pt x="152000" y="151154"/>
                </a:lnTo>
                <a:lnTo>
                  <a:pt x="166166" y="136791"/>
                </a:lnTo>
                <a:lnTo>
                  <a:pt x="180322" y="123191"/>
                </a:lnTo>
                <a:lnTo>
                  <a:pt x="193727" y="109591"/>
                </a:lnTo>
                <a:lnTo>
                  <a:pt x="206401" y="98254"/>
                </a:lnTo>
                <a:lnTo>
                  <a:pt x="216833" y="89181"/>
                </a:lnTo>
                <a:lnTo>
                  <a:pt x="226513" y="82381"/>
                </a:lnTo>
                <a:lnTo>
                  <a:pt x="236945" y="74069"/>
                </a:lnTo>
                <a:lnTo>
                  <a:pt x="269732" y="51395"/>
                </a:lnTo>
                <a:lnTo>
                  <a:pt x="301027" y="36283"/>
                </a:lnTo>
                <a:lnTo>
                  <a:pt x="300286" y="34771"/>
                </a:lnTo>
                <a:lnTo>
                  <a:pt x="297303" y="31746"/>
                </a:lnTo>
                <a:lnTo>
                  <a:pt x="292827" y="26459"/>
                </a:lnTo>
                <a:lnTo>
                  <a:pt x="287612" y="20410"/>
                </a:lnTo>
                <a:lnTo>
                  <a:pt x="275699" y="8322"/>
                </a:lnTo>
                <a:lnTo>
                  <a:pt x="270483" y="3785"/>
                </a:lnTo>
                <a:lnTo>
                  <a:pt x="266008" y="0"/>
                </a:lnTo>
                <a:close/>
              </a:path>
            </a:pathLst>
          </a:custGeom>
          <a:solidFill>
            <a:srgbClr val="DD00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744976" y="4235450"/>
            <a:ext cx="1143000" cy="336550"/>
          </a:xfrm>
          <a:custGeom>
            <a:avLst/>
            <a:gdLst/>
            <a:ahLst/>
            <a:cxnLst/>
            <a:rect l="l" t="t" r="r" b="b"/>
            <a:pathLst>
              <a:path w="1143000" h="336550">
                <a:moveTo>
                  <a:pt x="0" y="336550"/>
                </a:moveTo>
                <a:lnTo>
                  <a:pt x="1143000" y="336550"/>
                </a:lnTo>
                <a:lnTo>
                  <a:pt x="1143000" y="0"/>
                </a:lnTo>
                <a:lnTo>
                  <a:pt x="0" y="0"/>
                </a:lnTo>
                <a:lnTo>
                  <a:pt x="0" y="336550"/>
                </a:lnTo>
                <a:close/>
              </a:path>
            </a:pathLst>
          </a:custGeom>
          <a:solidFill>
            <a:srgbClr val="0033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 txBox="1"/>
          <p:nvPr/>
        </p:nvSpPr>
        <p:spPr>
          <a:xfrm>
            <a:off x="3375597" y="3895725"/>
            <a:ext cx="1512570" cy="6762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17500" algn="l"/>
              </a:tabLst>
            </a:pPr>
            <a:r>
              <a:rPr sz="1600" b="1" u="sng" spc="-5" dirty="0">
                <a:solidFill>
                  <a:srgbClr val="B1B1B1"/>
                </a:solidFill>
                <a:latin typeface="Arial"/>
                <a:cs typeface="Arial"/>
              </a:rPr>
              <a:t> 	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  <a:tabLst>
                <a:tab pos="317500" algn="l"/>
                <a:tab pos="461009" algn="l"/>
              </a:tabLst>
            </a:pPr>
            <a:r>
              <a:rPr sz="1600" b="1" u="sng" spc="-5" dirty="0">
                <a:solidFill>
                  <a:srgbClr val="B1B1B1"/>
                </a:solidFill>
                <a:latin typeface="Arial"/>
                <a:cs typeface="Arial"/>
              </a:rPr>
              <a:t> 	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	Insuranc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8363711" y="260604"/>
            <a:ext cx="78028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Master Data – Customer</a:t>
            </a:r>
            <a:r>
              <a:rPr spc="-75" dirty="0"/>
              <a:t> </a:t>
            </a:r>
            <a:r>
              <a:rPr dirty="0"/>
              <a:t>Master</a:t>
            </a:r>
          </a:p>
        </p:txBody>
      </p:sp>
      <p:sp>
        <p:nvSpPr>
          <p:cNvPr id="8" name="object 8"/>
          <p:cNvSpPr/>
          <p:nvPr/>
        </p:nvSpPr>
        <p:spPr>
          <a:xfrm>
            <a:off x="304800" y="2895600"/>
            <a:ext cx="2895600" cy="3352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90512" y="2881312"/>
            <a:ext cx="2924175" cy="3381375"/>
          </a:xfrm>
          <a:custGeom>
            <a:avLst/>
            <a:gdLst/>
            <a:ahLst/>
            <a:cxnLst/>
            <a:rect l="l" t="t" r="r" b="b"/>
            <a:pathLst>
              <a:path w="2924175" h="3381375">
                <a:moveTo>
                  <a:pt x="0" y="3381375"/>
                </a:moveTo>
                <a:lnTo>
                  <a:pt x="2924175" y="3381375"/>
                </a:lnTo>
                <a:lnTo>
                  <a:pt x="2924175" y="0"/>
                </a:lnTo>
                <a:lnTo>
                  <a:pt x="0" y="0"/>
                </a:lnTo>
                <a:lnTo>
                  <a:pt x="0" y="3381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352800" y="2895600"/>
            <a:ext cx="2743200" cy="33528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338448" y="2881312"/>
            <a:ext cx="2771775" cy="3381375"/>
          </a:xfrm>
          <a:custGeom>
            <a:avLst/>
            <a:gdLst/>
            <a:ahLst/>
            <a:cxnLst/>
            <a:rect l="l" t="t" r="r" b="b"/>
            <a:pathLst>
              <a:path w="2771775" h="3381375">
                <a:moveTo>
                  <a:pt x="0" y="3381375"/>
                </a:moveTo>
                <a:lnTo>
                  <a:pt x="2771775" y="3381375"/>
                </a:lnTo>
                <a:lnTo>
                  <a:pt x="2771775" y="0"/>
                </a:lnTo>
                <a:lnTo>
                  <a:pt x="0" y="0"/>
                </a:lnTo>
                <a:lnTo>
                  <a:pt x="0" y="3381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248400" y="2895600"/>
            <a:ext cx="2747899" cy="33528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234048" y="2881312"/>
            <a:ext cx="2776855" cy="3381375"/>
          </a:xfrm>
          <a:custGeom>
            <a:avLst/>
            <a:gdLst/>
            <a:ahLst/>
            <a:cxnLst/>
            <a:rect l="l" t="t" r="r" b="b"/>
            <a:pathLst>
              <a:path w="2776854" h="3381375">
                <a:moveTo>
                  <a:pt x="0" y="3381375"/>
                </a:moveTo>
                <a:lnTo>
                  <a:pt x="2776474" y="3381375"/>
                </a:lnTo>
                <a:lnTo>
                  <a:pt x="2776474" y="0"/>
                </a:lnTo>
                <a:lnTo>
                  <a:pt x="0" y="0"/>
                </a:lnTo>
                <a:lnTo>
                  <a:pt x="0" y="3381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612140" y="1260602"/>
            <a:ext cx="1010919" cy="182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65" dirty="0">
                <a:latin typeface="Arial"/>
                <a:cs typeface="Arial"/>
              </a:rPr>
              <a:t>T</a:t>
            </a:r>
            <a:r>
              <a:rPr sz="1200" b="1" spc="-5" dirty="0">
                <a:latin typeface="Arial"/>
                <a:cs typeface="Arial"/>
              </a:rPr>
              <a:t>rans</a:t>
            </a:r>
            <a:r>
              <a:rPr sz="1200" b="1" dirty="0">
                <a:latin typeface="Arial"/>
                <a:cs typeface="Arial"/>
              </a:rPr>
              <a:t>a</a:t>
            </a:r>
            <a:r>
              <a:rPr sz="1200" b="1" spc="-5" dirty="0">
                <a:latin typeface="Arial"/>
                <a:cs typeface="Arial"/>
              </a:rPr>
              <a:t>c</a:t>
            </a:r>
            <a:r>
              <a:rPr sz="1200" b="1" dirty="0">
                <a:latin typeface="Arial"/>
                <a:cs typeface="Arial"/>
              </a:rPr>
              <a:t>tions,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12140" y="1443482"/>
            <a:ext cx="2621280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XD01 </a:t>
            </a:r>
            <a:r>
              <a:rPr sz="1200" b="1" dirty="0">
                <a:latin typeface="Arial"/>
                <a:cs typeface="Arial"/>
              </a:rPr>
              <a:t>- Create </a:t>
            </a:r>
            <a:r>
              <a:rPr sz="1200" b="1" spc="-5" dirty="0">
                <a:latin typeface="Arial"/>
                <a:cs typeface="Arial"/>
              </a:rPr>
              <a:t>Customer </a:t>
            </a:r>
            <a:r>
              <a:rPr sz="1200" b="1" dirty="0">
                <a:latin typeface="Arial"/>
                <a:cs typeface="Arial"/>
              </a:rPr>
              <a:t>(complete)  </a:t>
            </a:r>
            <a:r>
              <a:rPr sz="1200" b="1" spc="-5" dirty="0">
                <a:latin typeface="Arial"/>
                <a:cs typeface="Arial"/>
              </a:rPr>
              <a:t>VD01 – </a:t>
            </a:r>
            <a:r>
              <a:rPr sz="1200" b="1" dirty="0">
                <a:latin typeface="Arial"/>
                <a:cs typeface="Arial"/>
              </a:rPr>
              <a:t>Create </a:t>
            </a:r>
            <a:r>
              <a:rPr sz="1200" b="1" spc="-5" dirty="0">
                <a:latin typeface="Arial"/>
                <a:cs typeface="Arial"/>
              </a:rPr>
              <a:t>Customer </a:t>
            </a:r>
            <a:r>
              <a:rPr sz="1200" b="1" dirty="0">
                <a:latin typeface="Arial"/>
                <a:cs typeface="Arial"/>
              </a:rPr>
              <a:t>( </a:t>
            </a:r>
            <a:r>
              <a:rPr sz="1200" b="1" spc="-5" dirty="0">
                <a:latin typeface="Arial"/>
                <a:cs typeface="Arial"/>
              </a:rPr>
              <a:t>S&amp;D)  FD01 – </a:t>
            </a:r>
            <a:r>
              <a:rPr sz="1200" b="1" dirty="0">
                <a:latin typeface="Arial"/>
                <a:cs typeface="Arial"/>
              </a:rPr>
              <a:t>Create </a:t>
            </a:r>
            <a:r>
              <a:rPr sz="1200" b="1" spc="-5" dirty="0">
                <a:latin typeface="Arial"/>
                <a:cs typeface="Arial"/>
              </a:rPr>
              <a:t>Customer </a:t>
            </a:r>
            <a:r>
              <a:rPr sz="1200" b="1" dirty="0">
                <a:latin typeface="Arial"/>
                <a:cs typeface="Arial"/>
              </a:rPr>
              <a:t>(</a:t>
            </a:r>
            <a:r>
              <a:rPr sz="1200" b="1" spc="-9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I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355975" y="1443482"/>
            <a:ext cx="266509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XD02 </a:t>
            </a:r>
            <a:r>
              <a:rPr sz="1200" b="1" dirty="0">
                <a:latin typeface="Arial"/>
                <a:cs typeface="Arial"/>
              </a:rPr>
              <a:t>- </a:t>
            </a:r>
            <a:r>
              <a:rPr sz="1200" b="1" spc="-5" dirty="0">
                <a:latin typeface="Arial"/>
                <a:cs typeface="Arial"/>
              </a:rPr>
              <a:t>Change Customer</a:t>
            </a:r>
            <a:r>
              <a:rPr sz="1200" b="1" spc="-4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(complete)  </a:t>
            </a:r>
            <a:r>
              <a:rPr sz="1200" b="1" spc="-5" dirty="0">
                <a:latin typeface="Arial"/>
                <a:cs typeface="Arial"/>
              </a:rPr>
              <a:t>VD02 </a:t>
            </a:r>
            <a:r>
              <a:rPr sz="1200" b="1" dirty="0">
                <a:latin typeface="Arial"/>
                <a:cs typeface="Arial"/>
              </a:rPr>
              <a:t>- </a:t>
            </a:r>
            <a:r>
              <a:rPr sz="1200" b="1" spc="-5" dirty="0">
                <a:latin typeface="Arial"/>
                <a:cs typeface="Arial"/>
              </a:rPr>
              <a:t>Change Customer (S&amp;D)  FD02 </a:t>
            </a:r>
            <a:r>
              <a:rPr sz="1200" b="1" dirty="0">
                <a:latin typeface="Arial"/>
                <a:cs typeface="Arial"/>
              </a:rPr>
              <a:t>- </a:t>
            </a:r>
            <a:r>
              <a:rPr sz="1200" b="1" spc="-5" dirty="0">
                <a:latin typeface="Arial"/>
                <a:cs typeface="Arial"/>
              </a:rPr>
              <a:t>Change Customer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(FI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55975" y="2175002"/>
            <a:ext cx="170942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VD05 </a:t>
            </a:r>
            <a:r>
              <a:rPr sz="1200" b="1" dirty="0">
                <a:latin typeface="Arial"/>
                <a:cs typeface="Arial"/>
              </a:rPr>
              <a:t>- </a:t>
            </a:r>
            <a:r>
              <a:rPr sz="1200" b="1" spc="-5" dirty="0">
                <a:latin typeface="Arial"/>
                <a:cs typeface="Arial"/>
              </a:rPr>
              <a:t>Block</a:t>
            </a:r>
            <a:r>
              <a:rPr sz="1200" b="1" spc="-4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Custom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12140" y="2175002"/>
            <a:ext cx="2648585" cy="5607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XD03 </a:t>
            </a:r>
            <a:r>
              <a:rPr sz="1200" b="1" dirty="0">
                <a:latin typeface="Arial"/>
                <a:cs typeface="Arial"/>
              </a:rPr>
              <a:t>- Display </a:t>
            </a:r>
            <a:r>
              <a:rPr sz="1200" b="1" spc="-5" dirty="0">
                <a:latin typeface="Arial"/>
                <a:cs typeface="Arial"/>
              </a:rPr>
              <a:t>Customer</a:t>
            </a:r>
            <a:r>
              <a:rPr sz="1200" b="1" spc="-8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(complete)  </a:t>
            </a:r>
            <a:r>
              <a:rPr sz="1200" b="1" spc="-5" dirty="0">
                <a:latin typeface="Arial"/>
                <a:cs typeface="Arial"/>
              </a:rPr>
              <a:t>VD03 </a:t>
            </a:r>
            <a:r>
              <a:rPr sz="1200" b="1" dirty="0">
                <a:latin typeface="Arial"/>
                <a:cs typeface="Arial"/>
              </a:rPr>
              <a:t>- Display </a:t>
            </a:r>
            <a:r>
              <a:rPr sz="1200" b="1" spc="-5" dirty="0">
                <a:latin typeface="Arial"/>
                <a:cs typeface="Arial"/>
              </a:rPr>
              <a:t>Customer (S&amp;D)  FD03 </a:t>
            </a:r>
            <a:r>
              <a:rPr sz="1200" b="1" dirty="0">
                <a:latin typeface="Arial"/>
                <a:cs typeface="Arial"/>
              </a:rPr>
              <a:t>- Display </a:t>
            </a:r>
            <a:r>
              <a:rPr sz="1200" b="1" spc="-5" dirty="0">
                <a:latin typeface="Arial"/>
                <a:cs typeface="Arial"/>
              </a:rPr>
              <a:t>Customer</a:t>
            </a:r>
            <a:r>
              <a:rPr sz="1200" b="1" spc="-8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(FI)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8363711" y="260604"/>
            <a:ext cx="78028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Master Data – Customer</a:t>
            </a:r>
            <a:r>
              <a:rPr spc="-75" dirty="0"/>
              <a:t> </a:t>
            </a:r>
            <a:r>
              <a:rPr dirty="0"/>
              <a:t>Master</a:t>
            </a:r>
          </a:p>
        </p:txBody>
      </p:sp>
      <p:sp>
        <p:nvSpPr>
          <p:cNvPr id="8" name="object 8"/>
          <p:cNvSpPr/>
          <p:nvPr/>
        </p:nvSpPr>
        <p:spPr>
          <a:xfrm>
            <a:off x="6397752" y="1150619"/>
            <a:ext cx="409955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87680" y="1455419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87680" y="1760220"/>
            <a:ext cx="687324" cy="4206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580" y="1760220"/>
            <a:ext cx="915924" cy="4206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402080" y="176022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316479" y="1760220"/>
            <a:ext cx="1258823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230879" y="1760220"/>
            <a:ext cx="1258823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145279" y="176022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59679" y="176022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74079" y="176022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888480" y="176022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30580" y="2004060"/>
            <a:ext cx="915924" cy="4206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402080" y="200406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316479" y="2004060"/>
            <a:ext cx="1258823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230879" y="2004060"/>
            <a:ext cx="1258823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145279" y="200406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059679" y="2004060"/>
            <a:ext cx="1258824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974079" y="200406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87680" y="230886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7680" y="261366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87680" y="291846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7680" y="3223260"/>
            <a:ext cx="414527" cy="420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87680" y="3528059"/>
            <a:ext cx="414527" cy="420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87680" y="3832859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87680" y="4137659"/>
            <a:ext cx="3067811" cy="420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211067" y="4137659"/>
            <a:ext cx="414528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98348" y="4465320"/>
            <a:ext cx="411480" cy="3977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30580" y="4442459"/>
            <a:ext cx="6731508" cy="42062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217664" y="4442459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98348" y="4770120"/>
            <a:ext cx="411480" cy="3977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830580" y="4747259"/>
            <a:ext cx="7176516" cy="42062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30580" y="4991100"/>
            <a:ext cx="1264920" cy="42062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751076" y="499110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98348" y="5318759"/>
            <a:ext cx="411480" cy="3977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830580" y="5295900"/>
            <a:ext cx="2247900" cy="42062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734055" y="5295900"/>
            <a:ext cx="429768" cy="42062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819400" y="5295900"/>
            <a:ext cx="1784603" cy="42062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259579" y="529590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98348" y="5623559"/>
            <a:ext cx="411480" cy="39776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30580" y="5600700"/>
            <a:ext cx="5256276" cy="42062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742432" y="5600700"/>
            <a:ext cx="414527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388352" y="5905500"/>
            <a:ext cx="414527" cy="420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635000" y="4215257"/>
            <a:ext cx="7129780" cy="2083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Account Group</a:t>
            </a:r>
            <a:r>
              <a:rPr sz="2000" spc="-12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controls,</a:t>
            </a:r>
            <a:endParaRPr sz="20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latin typeface="Arial"/>
                <a:cs typeface="Arial"/>
              </a:rPr>
              <a:t>Which fields in the master record are required or</a:t>
            </a:r>
            <a:r>
              <a:rPr sz="2000" spc="-22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optional</a:t>
            </a:r>
            <a:endParaRPr sz="2000">
              <a:latin typeface="Arial"/>
              <a:cs typeface="Arial"/>
            </a:endParaRPr>
          </a:p>
          <a:p>
            <a:pPr marL="355600" marR="5080" indent="-342900">
              <a:lnSpc>
                <a:spcPct val="80000"/>
              </a:lnSpc>
              <a:spcBef>
                <a:spcPts val="480"/>
              </a:spcBef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latin typeface="Arial"/>
                <a:cs typeface="Arial"/>
              </a:rPr>
              <a:t>Number range for the customer account number (external</a:t>
            </a:r>
            <a:r>
              <a:rPr sz="2000" spc="-26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or  internal)</a:t>
            </a:r>
            <a:endParaRPr sz="20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latin typeface="Arial"/>
                <a:cs typeface="Arial"/>
              </a:rPr>
              <a:t>Whether it </a:t>
            </a:r>
            <a:r>
              <a:rPr sz="2000" spc="-5" dirty="0">
                <a:latin typeface="Arial"/>
                <a:cs typeface="Arial"/>
              </a:rPr>
              <a:t>is </a:t>
            </a:r>
            <a:r>
              <a:rPr sz="2000" dirty="0">
                <a:latin typeface="Arial"/>
                <a:cs typeface="Arial"/>
              </a:rPr>
              <a:t>one-time</a:t>
            </a:r>
            <a:r>
              <a:rPr sz="2000" spc="-114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account</a:t>
            </a:r>
            <a:endParaRPr sz="20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latin typeface="Arial"/>
                <a:cs typeface="Arial"/>
              </a:rPr>
              <a:t>Default value for pricing procedure</a:t>
            </a:r>
            <a:r>
              <a:rPr sz="2000" spc="-17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indicator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Logistics General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Business Partner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Customers</a:t>
            </a:r>
            <a:r>
              <a:rPr sz="2000" spc="-145" dirty="0">
                <a:latin typeface="Arial"/>
                <a:cs typeface="Arial"/>
              </a:rPr>
              <a:t> </a:t>
            </a:r>
            <a:r>
              <a:rPr sz="2000" dirty="0">
                <a:latin typeface="Wingdings"/>
                <a:cs typeface="Wingdings"/>
              </a:rPr>
              <a:t></a:t>
            </a:r>
            <a:r>
              <a:rPr sz="2000" dirty="0">
                <a:latin typeface="Arial"/>
                <a:cs typeface="Arial"/>
              </a:rPr>
              <a:t>Control</a:t>
            </a:r>
            <a:endParaRPr sz="2000">
              <a:latin typeface="Arial"/>
              <a:cs typeface="Arial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4672076" y="1676400"/>
            <a:ext cx="2185924" cy="111798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672076" y="1676400"/>
            <a:ext cx="2186305" cy="1118235"/>
          </a:xfrm>
          <a:custGeom>
            <a:avLst/>
            <a:gdLst/>
            <a:ahLst/>
            <a:cxnLst/>
            <a:rect l="l" t="t" r="r" b="b"/>
            <a:pathLst>
              <a:path w="2186304" h="1118235">
                <a:moveTo>
                  <a:pt x="317500" y="0"/>
                </a:moveTo>
                <a:lnTo>
                  <a:pt x="628903" y="0"/>
                </a:lnTo>
                <a:lnTo>
                  <a:pt x="1096010" y="0"/>
                </a:lnTo>
                <a:lnTo>
                  <a:pt x="2185924" y="0"/>
                </a:lnTo>
                <a:lnTo>
                  <a:pt x="2185924" y="406526"/>
                </a:lnTo>
                <a:lnTo>
                  <a:pt x="2185924" y="580771"/>
                </a:lnTo>
                <a:lnTo>
                  <a:pt x="2185924" y="696976"/>
                </a:lnTo>
                <a:lnTo>
                  <a:pt x="1096010" y="696976"/>
                </a:lnTo>
                <a:lnTo>
                  <a:pt x="0" y="1117980"/>
                </a:lnTo>
                <a:lnTo>
                  <a:pt x="628903" y="696976"/>
                </a:lnTo>
                <a:lnTo>
                  <a:pt x="317500" y="696976"/>
                </a:lnTo>
                <a:lnTo>
                  <a:pt x="317500" y="580771"/>
                </a:lnTo>
                <a:lnTo>
                  <a:pt x="317500" y="406526"/>
                </a:lnTo>
                <a:lnTo>
                  <a:pt x="31750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828800" y="1676400"/>
            <a:ext cx="2281682" cy="104533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828800" y="1676400"/>
            <a:ext cx="2282190" cy="1045844"/>
          </a:xfrm>
          <a:custGeom>
            <a:avLst/>
            <a:gdLst/>
            <a:ahLst/>
            <a:cxnLst/>
            <a:rect l="l" t="t" r="r" b="b"/>
            <a:pathLst>
              <a:path w="2282190" h="1045844">
                <a:moveTo>
                  <a:pt x="0" y="0"/>
                </a:moveTo>
                <a:lnTo>
                  <a:pt x="1089914" y="0"/>
                </a:lnTo>
                <a:lnTo>
                  <a:pt x="1557020" y="0"/>
                </a:lnTo>
                <a:lnTo>
                  <a:pt x="1868551" y="0"/>
                </a:lnTo>
                <a:lnTo>
                  <a:pt x="1868551" y="406526"/>
                </a:lnTo>
                <a:lnTo>
                  <a:pt x="1868551" y="580771"/>
                </a:lnTo>
                <a:lnTo>
                  <a:pt x="1868551" y="696976"/>
                </a:lnTo>
                <a:lnTo>
                  <a:pt x="1557020" y="696976"/>
                </a:lnTo>
                <a:lnTo>
                  <a:pt x="2281682" y="1045337"/>
                </a:lnTo>
                <a:lnTo>
                  <a:pt x="1089914" y="696976"/>
                </a:lnTo>
                <a:lnTo>
                  <a:pt x="0" y="696976"/>
                </a:lnTo>
                <a:lnTo>
                  <a:pt x="0" y="580771"/>
                </a:lnTo>
                <a:lnTo>
                  <a:pt x="0" y="406526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735290" y="1289177"/>
            <a:ext cx="6724650" cy="791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Account Group is a classification of customer master</a:t>
            </a:r>
            <a:r>
              <a:rPr sz="2000" spc="-19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record</a:t>
            </a:r>
          </a:p>
          <a:p>
            <a:pPr marL="1454785">
              <a:lnSpc>
                <a:spcPct val="100000"/>
              </a:lnSpc>
              <a:spcBef>
                <a:spcPts val="1425"/>
              </a:spcBef>
              <a:tabLst>
                <a:tab pos="4615815" algn="l"/>
              </a:tabLst>
            </a:pPr>
            <a:r>
              <a:rPr sz="2000" dirty="0">
                <a:latin typeface="Times New Roman"/>
                <a:cs typeface="Times New Roman"/>
              </a:rPr>
              <a:t>Sold-to</a:t>
            </a:r>
            <a:r>
              <a:rPr sz="2000" spc="-5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Party	Ship-to</a:t>
            </a:r>
            <a:r>
              <a:rPr sz="2000" spc="-14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Party</a:t>
            </a:r>
          </a:p>
        </p:txBody>
      </p:sp>
      <p:sp>
        <p:nvSpPr>
          <p:cNvPr id="58" name="object 58"/>
          <p:cNvSpPr/>
          <p:nvPr/>
        </p:nvSpPr>
        <p:spPr>
          <a:xfrm>
            <a:off x="1828800" y="2860420"/>
            <a:ext cx="2209800" cy="125437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828800" y="2860420"/>
            <a:ext cx="2209800" cy="1254760"/>
          </a:xfrm>
          <a:custGeom>
            <a:avLst/>
            <a:gdLst/>
            <a:ahLst/>
            <a:cxnLst/>
            <a:rect l="l" t="t" r="r" b="b"/>
            <a:pathLst>
              <a:path w="2209800" h="1254760">
                <a:moveTo>
                  <a:pt x="0" y="557529"/>
                </a:moveTo>
                <a:lnTo>
                  <a:pt x="1089914" y="557529"/>
                </a:lnTo>
                <a:lnTo>
                  <a:pt x="2209800" y="0"/>
                </a:lnTo>
                <a:lnTo>
                  <a:pt x="1557020" y="557529"/>
                </a:lnTo>
                <a:lnTo>
                  <a:pt x="1868551" y="557529"/>
                </a:lnTo>
                <a:lnTo>
                  <a:pt x="1868551" y="673607"/>
                </a:lnTo>
                <a:lnTo>
                  <a:pt x="1868551" y="847851"/>
                </a:lnTo>
                <a:lnTo>
                  <a:pt x="1868551" y="1254378"/>
                </a:lnTo>
                <a:lnTo>
                  <a:pt x="1557020" y="1254378"/>
                </a:lnTo>
                <a:lnTo>
                  <a:pt x="1089914" y="1254378"/>
                </a:lnTo>
                <a:lnTo>
                  <a:pt x="0" y="1254378"/>
                </a:lnTo>
                <a:lnTo>
                  <a:pt x="0" y="847851"/>
                </a:lnTo>
                <a:lnTo>
                  <a:pt x="0" y="673607"/>
                </a:lnTo>
                <a:lnTo>
                  <a:pt x="0" y="55752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2120264" y="3455670"/>
            <a:ext cx="128524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5" dirty="0">
                <a:latin typeface="Times New Roman"/>
                <a:cs typeface="Times New Roman"/>
              </a:rPr>
              <a:t>Bill-to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Party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4641088" y="2848736"/>
            <a:ext cx="2145538" cy="126606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641088" y="2848736"/>
            <a:ext cx="2145665" cy="1266190"/>
          </a:xfrm>
          <a:custGeom>
            <a:avLst/>
            <a:gdLst/>
            <a:ahLst/>
            <a:cxnLst/>
            <a:rect l="l" t="t" r="r" b="b"/>
            <a:pathLst>
              <a:path w="2145665" h="1266189">
                <a:moveTo>
                  <a:pt x="276987" y="569213"/>
                </a:moveTo>
                <a:lnTo>
                  <a:pt x="588390" y="569213"/>
                </a:lnTo>
                <a:lnTo>
                  <a:pt x="0" y="0"/>
                </a:lnTo>
                <a:lnTo>
                  <a:pt x="1055497" y="569213"/>
                </a:lnTo>
                <a:lnTo>
                  <a:pt x="2145538" y="569213"/>
                </a:lnTo>
                <a:lnTo>
                  <a:pt x="2145538" y="685291"/>
                </a:lnTo>
                <a:lnTo>
                  <a:pt x="2145538" y="859536"/>
                </a:lnTo>
                <a:lnTo>
                  <a:pt x="2145538" y="1266063"/>
                </a:lnTo>
                <a:lnTo>
                  <a:pt x="1055497" y="1266063"/>
                </a:lnTo>
                <a:lnTo>
                  <a:pt x="588390" y="1266063"/>
                </a:lnTo>
                <a:lnTo>
                  <a:pt x="276987" y="1266063"/>
                </a:lnTo>
                <a:lnTo>
                  <a:pt x="276987" y="859536"/>
                </a:lnTo>
                <a:lnTo>
                  <a:pt x="276987" y="685291"/>
                </a:lnTo>
                <a:lnTo>
                  <a:pt x="276987" y="56921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 txBox="1"/>
          <p:nvPr/>
        </p:nvSpPr>
        <p:spPr>
          <a:xfrm>
            <a:off x="5549900" y="3455670"/>
            <a:ext cx="60515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Payer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3911600" y="2303526"/>
            <a:ext cx="1006475" cy="904875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911600" y="2303526"/>
            <a:ext cx="1006475" cy="904875"/>
          </a:xfrm>
          <a:custGeom>
            <a:avLst/>
            <a:gdLst/>
            <a:ahLst/>
            <a:cxnLst/>
            <a:rect l="l" t="t" r="r" b="b"/>
            <a:pathLst>
              <a:path w="1006475" h="904875">
                <a:moveTo>
                  <a:pt x="0" y="452374"/>
                </a:moveTo>
                <a:lnTo>
                  <a:pt x="2598" y="406105"/>
                </a:lnTo>
                <a:lnTo>
                  <a:pt x="10223" y="361177"/>
                </a:lnTo>
                <a:lnTo>
                  <a:pt x="22624" y="317815"/>
                </a:lnTo>
                <a:lnTo>
                  <a:pt x="39546" y="276248"/>
                </a:lnTo>
                <a:lnTo>
                  <a:pt x="60738" y="236702"/>
                </a:lnTo>
                <a:lnTo>
                  <a:pt x="85946" y="199404"/>
                </a:lnTo>
                <a:lnTo>
                  <a:pt x="114917" y="164581"/>
                </a:lnTo>
                <a:lnTo>
                  <a:pt x="147399" y="132460"/>
                </a:lnTo>
                <a:lnTo>
                  <a:pt x="183139" y="103268"/>
                </a:lnTo>
                <a:lnTo>
                  <a:pt x="221884" y="77232"/>
                </a:lnTo>
                <a:lnTo>
                  <a:pt x="263381" y="54579"/>
                </a:lnTo>
                <a:lnTo>
                  <a:pt x="307377" y="35536"/>
                </a:lnTo>
                <a:lnTo>
                  <a:pt x="353620" y="20329"/>
                </a:lnTo>
                <a:lnTo>
                  <a:pt x="401857" y="9186"/>
                </a:lnTo>
                <a:lnTo>
                  <a:pt x="451835" y="2334"/>
                </a:lnTo>
                <a:lnTo>
                  <a:pt x="503300" y="0"/>
                </a:lnTo>
                <a:lnTo>
                  <a:pt x="554744" y="2334"/>
                </a:lnTo>
                <a:lnTo>
                  <a:pt x="604702" y="9186"/>
                </a:lnTo>
                <a:lnTo>
                  <a:pt x="652922" y="20329"/>
                </a:lnTo>
                <a:lnTo>
                  <a:pt x="699150" y="35536"/>
                </a:lnTo>
                <a:lnTo>
                  <a:pt x="743135" y="54579"/>
                </a:lnTo>
                <a:lnTo>
                  <a:pt x="784621" y="77232"/>
                </a:lnTo>
                <a:lnTo>
                  <a:pt x="823358" y="103268"/>
                </a:lnTo>
                <a:lnTo>
                  <a:pt x="859091" y="132460"/>
                </a:lnTo>
                <a:lnTo>
                  <a:pt x="891568" y="164581"/>
                </a:lnTo>
                <a:lnTo>
                  <a:pt x="920535" y="199404"/>
                </a:lnTo>
                <a:lnTo>
                  <a:pt x="945740" y="236702"/>
                </a:lnTo>
                <a:lnTo>
                  <a:pt x="966930" y="276248"/>
                </a:lnTo>
                <a:lnTo>
                  <a:pt x="983851" y="317815"/>
                </a:lnTo>
                <a:lnTo>
                  <a:pt x="996251" y="361177"/>
                </a:lnTo>
                <a:lnTo>
                  <a:pt x="1003876" y="406105"/>
                </a:lnTo>
                <a:lnTo>
                  <a:pt x="1006475" y="452374"/>
                </a:lnTo>
                <a:lnTo>
                  <a:pt x="1003876" y="498643"/>
                </a:lnTo>
                <a:lnTo>
                  <a:pt x="996251" y="543576"/>
                </a:lnTo>
                <a:lnTo>
                  <a:pt x="983851" y="586943"/>
                </a:lnTo>
                <a:lnTo>
                  <a:pt x="966930" y="628519"/>
                </a:lnTo>
                <a:lnTo>
                  <a:pt x="945740" y="668074"/>
                </a:lnTo>
                <a:lnTo>
                  <a:pt x="920535" y="705383"/>
                </a:lnTo>
                <a:lnTo>
                  <a:pt x="891568" y="740217"/>
                </a:lnTo>
                <a:lnTo>
                  <a:pt x="859091" y="772350"/>
                </a:lnTo>
                <a:lnTo>
                  <a:pt x="823358" y="801554"/>
                </a:lnTo>
                <a:lnTo>
                  <a:pt x="784621" y="827601"/>
                </a:lnTo>
                <a:lnTo>
                  <a:pt x="743135" y="850265"/>
                </a:lnTo>
                <a:lnTo>
                  <a:pt x="699150" y="869318"/>
                </a:lnTo>
                <a:lnTo>
                  <a:pt x="652922" y="884533"/>
                </a:lnTo>
                <a:lnTo>
                  <a:pt x="604702" y="895682"/>
                </a:lnTo>
                <a:lnTo>
                  <a:pt x="554744" y="902539"/>
                </a:lnTo>
                <a:lnTo>
                  <a:pt x="503300" y="904875"/>
                </a:lnTo>
                <a:lnTo>
                  <a:pt x="451835" y="902539"/>
                </a:lnTo>
                <a:lnTo>
                  <a:pt x="401857" y="895682"/>
                </a:lnTo>
                <a:lnTo>
                  <a:pt x="353620" y="884533"/>
                </a:lnTo>
                <a:lnTo>
                  <a:pt x="307377" y="869318"/>
                </a:lnTo>
                <a:lnTo>
                  <a:pt x="263381" y="850265"/>
                </a:lnTo>
                <a:lnTo>
                  <a:pt x="221884" y="827601"/>
                </a:lnTo>
                <a:lnTo>
                  <a:pt x="183139" y="801554"/>
                </a:lnTo>
                <a:lnTo>
                  <a:pt x="147399" y="772350"/>
                </a:lnTo>
                <a:lnTo>
                  <a:pt x="114917" y="740217"/>
                </a:lnTo>
                <a:lnTo>
                  <a:pt x="85946" y="705383"/>
                </a:lnTo>
                <a:lnTo>
                  <a:pt x="60738" y="668074"/>
                </a:lnTo>
                <a:lnTo>
                  <a:pt x="39546" y="628519"/>
                </a:lnTo>
                <a:lnTo>
                  <a:pt x="22624" y="586943"/>
                </a:lnTo>
                <a:lnTo>
                  <a:pt x="10223" y="543576"/>
                </a:lnTo>
                <a:lnTo>
                  <a:pt x="2598" y="498643"/>
                </a:lnTo>
                <a:lnTo>
                  <a:pt x="0" y="4523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3931158" y="2629661"/>
            <a:ext cx="97028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</a:t>
            </a:r>
            <a:r>
              <a:rPr sz="1600" b="1" spc="-15" dirty="0">
                <a:latin typeface="Arial"/>
                <a:cs typeface="Arial"/>
              </a:rPr>
              <a:t>u</a:t>
            </a:r>
            <a:r>
              <a:rPr sz="1600" b="1" spc="-5" dirty="0">
                <a:latin typeface="Arial"/>
                <a:cs typeface="Arial"/>
              </a:rPr>
              <a:t>s</a:t>
            </a:r>
            <a:r>
              <a:rPr sz="1600" b="1" spc="-10" dirty="0">
                <a:latin typeface="Arial"/>
                <a:cs typeface="Arial"/>
              </a:rPr>
              <a:t>t</a:t>
            </a:r>
            <a:r>
              <a:rPr sz="1600" b="1" spc="-5" dirty="0">
                <a:latin typeface="Arial"/>
                <a:cs typeface="Arial"/>
              </a:rPr>
              <a:t>o</a:t>
            </a:r>
            <a:r>
              <a:rPr sz="1600" b="1" spc="-15" dirty="0">
                <a:latin typeface="Arial"/>
                <a:cs typeface="Arial"/>
              </a:rPr>
              <a:t>m</a:t>
            </a:r>
            <a:r>
              <a:rPr sz="1600" b="1" spc="-5" dirty="0">
                <a:latin typeface="Arial"/>
                <a:cs typeface="Arial"/>
              </a:rPr>
              <a:t>er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038855" y="402336"/>
            <a:ext cx="729995" cy="7391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116823" y="402336"/>
            <a:ext cx="729996" cy="7391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13791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600" dirty="0"/>
              <a:t>Master Data – Customer Material</a:t>
            </a:r>
            <a:r>
              <a:rPr sz="3600" spc="-125" dirty="0"/>
              <a:t> </a:t>
            </a:r>
            <a:r>
              <a:rPr sz="3600" dirty="0"/>
              <a:t>info</a:t>
            </a:r>
            <a:endParaRPr sz="3600"/>
          </a:p>
        </p:txBody>
      </p:sp>
      <p:sp>
        <p:nvSpPr>
          <p:cNvPr id="8" name="object 8"/>
          <p:cNvSpPr/>
          <p:nvPr/>
        </p:nvSpPr>
        <p:spPr>
          <a:xfrm>
            <a:off x="533400" y="2286000"/>
            <a:ext cx="4724400" cy="3962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19112" y="2271712"/>
            <a:ext cx="4752975" cy="3990975"/>
          </a:xfrm>
          <a:custGeom>
            <a:avLst/>
            <a:gdLst/>
            <a:ahLst/>
            <a:cxnLst/>
            <a:rect l="l" t="t" r="r" b="b"/>
            <a:pathLst>
              <a:path w="4752975" h="3990975">
                <a:moveTo>
                  <a:pt x="0" y="3990975"/>
                </a:moveTo>
                <a:lnTo>
                  <a:pt x="4752975" y="3990975"/>
                </a:lnTo>
                <a:lnTo>
                  <a:pt x="4752975" y="0"/>
                </a:lnTo>
                <a:lnTo>
                  <a:pt x="0" y="0"/>
                </a:lnTo>
                <a:lnTo>
                  <a:pt x="0" y="3990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20700" y="1461261"/>
            <a:ext cx="8068945" cy="4855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93345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If the customer uses a different identifier than the one the business uses for the  material, this can be included in a customer material</a:t>
            </a:r>
            <a:r>
              <a:rPr sz="1600" spc="12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information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500">
              <a:latin typeface="Times New Roman"/>
              <a:cs typeface="Times New Roman"/>
            </a:endParaRPr>
          </a:p>
          <a:p>
            <a:pPr marL="5057775" marR="37465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Arial"/>
                <a:cs typeface="Arial"/>
              </a:rPr>
              <a:t>Uniquely identifies the material  from the customer's point of</a:t>
            </a:r>
            <a:r>
              <a:rPr sz="1600" spc="4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view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650">
              <a:latin typeface="Times New Roman"/>
              <a:cs typeface="Times New Roman"/>
            </a:endParaRPr>
          </a:p>
          <a:p>
            <a:pPr marL="5057775" marR="508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Customer material info can also  include shipping specific data like  plant, delivery tolerances, partial  delivery detail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tc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650">
              <a:latin typeface="Times New Roman"/>
              <a:cs typeface="Times New Roman"/>
            </a:endParaRPr>
          </a:p>
          <a:p>
            <a:pPr marL="5057775" marR="29464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The user can simplify the data  entry process by using a  customer-material info record  during sales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cessing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650">
              <a:latin typeface="Times New Roman"/>
              <a:cs typeface="Times New Roman"/>
            </a:endParaRPr>
          </a:p>
          <a:p>
            <a:pPr marL="5057775" marR="156210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VD51 – Create  VD52 –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Change  </a:t>
            </a:r>
            <a:r>
              <a:rPr sz="1600" spc="-5" dirty="0">
                <a:latin typeface="Arial"/>
                <a:cs typeface="Arial"/>
              </a:rPr>
              <a:t>VD53 -</a:t>
            </a:r>
            <a:r>
              <a:rPr sz="1600" spc="38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isply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638800" y="1219200"/>
            <a:ext cx="2362200" cy="2438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33800" y="1219200"/>
            <a:ext cx="1752600" cy="2438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295400" y="1219200"/>
            <a:ext cx="1905000" cy="2438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491739" y="260604"/>
            <a:ext cx="886967" cy="8976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543044" y="260604"/>
            <a:ext cx="886968" cy="8976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</a:t>
            </a:r>
            <a:r>
              <a:rPr spc="-85" dirty="0"/>
              <a:t> </a:t>
            </a:r>
            <a:r>
              <a:rPr dirty="0"/>
              <a:t>Pricing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533400" y="3879850"/>
            <a:ext cx="8050530" cy="2292350"/>
          </a:xfrm>
          <a:prstGeom prst="rect">
            <a:avLst/>
          </a:prstGeom>
          <a:solidFill>
            <a:srgbClr val="ADB5FB"/>
          </a:solidFill>
        </p:spPr>
        <p:txBody>
          <a:bodyPr vert="horz" wrap="square" lIns="0" tIns="44450" rIns="0" bIns="0" rtlCol="0">
            <a:spAutoFit/>
          </a:bodyPr>
          <a:lstStyle/>
          <a:p>
            <a:pPr marL="91440" marR="190500" algn="just">
              <a:lnSpc>
                <a:spcPct val="100000"/>
              </a:lnSpc>
              <a:spcBef>
                <a:spcPts val="350"/>
              </a:spcBef>
              <a:buFont typeface="Arial"/>
              <a:buChar char="•"/>
              <a:tabLst>
                <a:tab pos="212090" algn="l"/>
              </a:tabLst>
            </a:pPr>
            <a:r>
              <a:rPr sz="1600" b="1" spc="-20" dirty="0">
                <a:latin typeface="Arial"/>
                <a:cs typeface="Arial"/>
              </a:rPr>
              <a:t>All </a:t>
            </a:r>
            <a:r>
              <a:rPr sz="1600" b="1" spc="-5" dirty="0">
                <a:latin typeface="Arial"/>
                <a:cs typeface="Arial"/>
              </a:rPr>
              <a:t>of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ricing elements that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use in </a:t>
            </a:r>
            <a:r>
              <a:rPr sz="1600" b="1" spc="-15" dirty="0">
                <a:latin typeface="Arial"/>
                <a:cs typeface="Arial"/>
              </a:rPr>
              <a:t>your </a:t>
            </a:r>
            <a:r>
              <a:rPr sz="1600" b="1" spc="-5" dirty="0">
                <a:latin typeface="Arial"/>
                <a:cs typeface="Arial"/>
              </a:rPr>
              <a:t>day-to-day pricing procedures - 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rices, surcharges, discounts, freight charges, and taxes - are defined in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spc="-5" dirty="0">
                <a:latin typeface="Arial"/>
                <a:cs typeface="Arial"/>
              </a:rPr>
              <a:t>R/3 </a:t>
            </a:r>
            <a:r>
              <a:rPr sz="1600" b="1" spc="-10" dirty="0">
                <a:latin typeface="Arial"/>
                <a:cs typeface="Arial"/>
              </a:rPr>
              <a:t>system </a:t>
            </a:r>
            <a:r>
              <a:rPr sz="1600" b="1" spc="-5" dirty="0">
                <a:latin typeface="Arial"/>
                <a:cs typeface="Arial"/>
              </a:rPr>
              <a:t>as condition</a:t>
            </a:r>
            <a:r>
              <a:rPr sz="1600" b="1" spc="4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types.</a:t>
            </a:r>
            <a:endParaRPr sz="1600">
              <a:latin typeface="Arial"/>
              <a:cs typeface="Arial"/>
            </a:endParaRPr>
          </a:p>
          <a:p>
            <a:pPr marL="91440" marR="675640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5" dirty="0">
                <a:latin typeface="Arial"/>
                <a:cs typeface="Arial"/>
              </a:rPr>
              <a:t>During sales order </a:t>
            </a:r>
            <a:r>
              <a:rPr sz="1600" b="1" spc="-30" dirty="0">
                <a:latin typeface="Arial"/>
                <a:cs typeface="Arial"/>
              </a:rPr>
              <a:t>entry, </a:t>
            </a:r>
            <a:r>
              <a:rPr sz="1600" b="1" spc="-10" dirty="0">
                <a:latin typeface="Arial"/>
                <a:cs typeface="Arial"/>
              </a:rPr>
              <a:t>the system </a:t>
            </a:r>
            <a:r>
              <a:rPr sz="1600" b="1" spc="-5" dirty="0">
                <a:latin typeface="Arial"/>
                <a:cs typeface="Arial"/>
              </a:rPr>
              <a:t>can calculate prices automatically by  finding a gross price, deducting all </a:t>
            </a:r>
            <a:r>
              <a:rPr sz="1600" b="1" spc="-10" dirty="0">
                <a:latin typeface="Arial"/>
                <a:cs typeface="Arial"/>
              </a:rPr>
              <a:t>the relevant </a:t>
            </a:r>
            <a:r>
              <a:rPr sz="1600" b="1" spc="-5" dirty="0">
                <a:latin typeface="Arial"/>
                <a:cs typeface="Arial"/>
              </a:rPr>
              <a:t>discounts and adding any  surcharges such as freight and sales</a:t>
            </a:r>
            <a:r>
              <a:rPr sz="1600" b="1" spc="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ax.</a:t>
            </a:r>
            <a:endParaRPr sz="1600">
              <a:latin typeface="Arial"/>
              <a:cs typeface="Arial"/>
            </a:endParaRPr>
          </a:p>
          <a:p>
            <a:pPr marL="91440" marR="172720" algn="just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5" dirty="0">
                <a:latin typeface="Arial"/>
                <a:cs typeface="Arial"/>
              </a:rPr>
              <a:t>Depending o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ricing policies of </a:t>
            </a:r>
            <a:r>
              <a:rPr sz="1600" b="1" spc="-15" dirty="0">
                <a:latin typeface="Arial"/>
                <a:cs typeface="Arial"/>
              </a:rPr>
              <a:t>your </a:t>
            </a:r>
            <a:r>
              <a:rPr sz="1600" b="1" spc="-25" dirty="0">
                <a:latin typeface="Arial"/>
                <a:cs typeface="Arial"/>
              </a:rPr>
              <a:t>company,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may be able to change  prices manually during sales order processing. </a:t>
            </a:r>
            <a:r>
              <a:rPr sz="1600" b="1" spc="-45" dirty="0">
                <a:latin typeface="Arial"/>
                <a:cs typeface="Arial"/>
              </a:rPr>
              <a:t>You may,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example, be able to  enter or change certain discounts </a:t>
            </a:r>
            <a:r>
              <a:rPr sz="1600" b="1" dirty="0">
                <a:latin typeface="Arial"/>
                <a:cs typeface="Arial"/>
              </a:rPr>
              <a:t>within </a:t>
            </a:r>
            <a:r>
              <a:rPr sz="1600" b="1" spc="-5" dirty="0">
                <a:latin typeface="Arial"/>
                <a:cs typeface="Arial"/>
              </a:rPr>
              <a:t>a specified</a:t>
            </a:r>
            <a:r>
              <a:rPr sz="1600" b="1" spc="114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range.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260725" y="1700276"/>
            <a:ext cx="396875" cy="155575"/>
          </a:xfrm>
          <a:custGeom>
            <a:avLst/>
            <a:gdLst/>
            <a:ahLst/>
            <a:cxnLst/>
            <a:rect l="l" t="t" r="r" b="b"/>
            <a:pathLst>
              <a:path w="396875" h="155575">
                <a:moveTo>
                  <a:pt x="297688" y="0"/>
                </a:moveTo>
                <a:lnTo>
                  <a:pt x="297688" y="38862"/>
                </a:lnTo>
                <a:lnTo>
                  <a:pt x="0" y="38862"/>
                </a:lnTo>
                <a:lnTo>
                  <a:pt x="0" y="116586"/>
                </a:lnTo>
                <a:lnTo>
                  <a:pt x="297688" y="116586"/>
                </a:lnTo>
                <a:lnTo>
                  <a:pt x="297688" y="155575"/>
                </a:lnTo>
                <a:lnTo>
                  <a:pt x="396875" y="77724"/>
                </a:lnTo>
                <a:lnTo>
                  <a:pt x="297688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260725" y="1700276"/>
            <a:ext cx="396875" cy="155575"/>
          </a:xfrm>
          <a:custGeom>
            <a:avLst/>
            <a:gdLst/>
            <a:ahLst/>
            <a:cxnLst/>
            <a:rect l="l" t="t" r="r" b="b"/>
            <a:pathLst>
              <a:path w="396875" h="155575">
                <a:moveTo>
                  <a:pt x="0" y="38862"/>
                </a:moveTo>
                <a:lnTo>
                  <a:pt x="297688" y="38862"/>
                </a:lnTo>
                <a:lnTo>
                  <a:pt x="297688" y="0"/>
                </a:lnTo>
                <a:lnTo>
                  <a:pt x="396875" y="77724"/>
                </a:lnTo>
                <a:lnTo>
                  <a:pt x="297688" y="155575"/>
                </a:lnTo>
                <a:lnTo>
                  <a:pt x="297688" y="116586"/>
                </a:lnTo>
                <a:lnTo>
                  <a:pt x="0" y="116586"/>
                </a:lnTo>
                <a:lnTo>
                  <a:pt x="0" y="388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63900" y="2878073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295275" y="0"/>
                </a:moveTo>
                <a:lnTo>
                  <a:pt x="295275" y="38988"/>
                </a:lnTo>
                <a:lnTo>
                  <a:pt x="0" y="38988"/>
                </a:lnTo>
                <a:lnTo>
                  <a:pt x="0" y="116712"/>
                </a:lnTo>
                <a:lnTo>
                  <a:pt x="295275" y="116712"/>
                </a:lnTo>
                <a:lnTo>
                  <a:pt x="295275" y="155575"/>
                </a:lnTo>
                <a:lnTo>
                  <a:pt x="393700" y="77850"/>
                </a:lnTo>
                <a:lnTo>
                  <a:pt x="295275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263900" y="2878073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0" y="38988"/>
                </a:moveTo>
                <a:lnTo>
                  <a:pt x="295275" y="38988"/>
                </a:lnTo>
                <a:lnTo>
                  <a:pt x="295275" y="0"/>
                </a:lnTo>
                <a:lnTo>
                  <a:pt x="393700" y="77850"/>
                </a:lnTo>
                <a:lnTo>
                  <a:pt x="295275" y="155575"/>
                </a:lnTo>
                <a:lnTo>
                  <a:pt x="295275" y="116712"/>
                </a:lnTo>
                <a:lnTo>
                  <a:pt x="0" y="116712"/>
                </a:lnTo>
                <a:lnTo>
                  <a:pt x="0" y="3898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263900" y="2384425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295275" y="0"/>
                </a:moveTo>
                <a:lnTo>
                  <a:pt x="295275" y="38862"/>
                </a:lnTo>
                <a:lnTo>
                  <a:pt x="0" y="38862"/>
                </a:lnTo>
                <a:lnTo>
                  <a:pt x="0" y="116712"/>
                </a:lnTo>
                <a:lnTo>
                  <a:pt x="295275" y="116712"/>
                </a:lnTo>
                <a:lnTo>
                  <a:pt x="295275" y="155575"/>
                </a:lnTo>
                <a:lnTo>
                  <a:pt x="393700" y="77850"/>
                </a:lnTo>
                <a:lnTo>
                  <a:pt x="295275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263900" y="2384425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0" y="38862"/>
                </a:moveTo>
                <a:lnTo>
                  <a:pt x="295275" y="38862"/>
                </a:lnTo>
                <a:lnTo>
                  <a:pt x="295275" y="0"/>
                </a:lnTo>
                <a:lnTo>
                  <a:pt x="393700" y="77850"/>
                </a:lnTo>
                <a:lnTo>
                  <a:pt x="295275" y="155575"/>
                </a:lnTo>
                <a:lnTo>
                  <a:pt x="295275" y="116712"/>
                </a:lnTo>
                <a:lnTo>
                  <a:pt x="0" y="116712"/>
                </a:lnTo>
                <a:lnTo>
                  <a:pt x="0" y="388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263900" y="3389376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295275" y="0"/>
                </a:moveTo>
                <a:lnTo>
                  <a:pt x="295275" y="38862"/>
                </a:lnTo>
                <a:lnTo>
                  <a:pt x="0" y="38862"/>
                </a:lnTo>
                <a:lnTo>
                  <a:pt x="0" y="116586"/>
                </a:lnTo>
                <a:lnTo>
                  <a:pt x="295275" y="116586"/>
                </a:lnTo>
                <a:lnTo>
                  <a:pt x="295275" y="155575"/>
                </a:lnTo>
                <a:lnTo>
                  <a:pt x="393700" y="77724"/>
                </a:lnTo>
                <a:lnTo>
                  <a:pt x="295275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263900" y="3389376"/>
            <a:ext cx="393700" cy="155575"/>
          </a:xfrm>
          <a:custGeom>
            <a:avLst/>
            <a:gdLst/>
            <a:ahLst/>
            <a:cxnLst/>
            <a:rect l="l" t="t" r="r" b="b"/>
            <a:pathLst>
              <a:path w="393700" h="155575">
                <a:moveTo>
                  <a:pt x="0" y="38862"/>
                </a:moveTo>
                <a:lnTo>
                  <a:pt x="295275" y="38862"/>
                </a:lnTo>
                <a:lnTo>
                  <a:pt x="295275" y="0"/>
                </a:lnTo>
                <a:lnTo>
                  <a:pt x="393700" y="77724"/>
                </a:lnTo>
                <a:lnTo>
                  <a:pt x="295275" y="155575"/>
                </a:lnTo>
                <a:lnTo>
                  <a:pt x="295275" y="116586"/>
                </a:lnTo>
                <a:lnTo>
                  <a:pt x="0" y="116586"/>
                </a:lnTo>
                <a:lnTo>
                  <a:pt x="0" y="388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733800" y="1219200"/>
            <a:ext cx="1752600" cy="24384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 marL="200025" marR="407034">
              <a:lnSpc>
                <a:spcPct val="100000"/>
              </a:lnSpc>
            </a:pP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Material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Price, 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Customer</a:t>
            </a:r>
            <a:r>
              <a:rPr sz="1200" b="1" spc="-9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Price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550">
              <a:latin typeface="Times New Roman"/>
              <a:cs typeface="Times New Roman"/>
            </a:endParaRPr>
          </a:p>
          <a:p>
            <a:pPr marL="200025" marR="220979">
              <a:lnSpc>
                <a:spcPct val="100000"/>
              </a:lnSpc>
            </a:pP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Material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Group 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Discount,  Material</a:t>
            </a:r>
            <a:r>
              <a:rPr sz="1200" b="1" spc="23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Discount</a:t>
            </a:r>
            <a:endParaRPr sz="1200">
              <a:latin typeface="Arial"/>
              <a:cs typeface="Arial"/>
            </a:endParaRPr>
          </a:p>
          <a:p>
            <a:pPr marL="200025">
              <a:lnSpc>
                <a:spcPct val="100000"/>
              </a:lnSpc>
              <a:spcBef>
                <a:spcPts val="1065"/>
              </a:spcBef>
            </a:pP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Incoterms</a:t>
            </a:r>
            <a:r>
              <a:rPr sz="1200" b="1" spc="-6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part1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000">
              <a:latin typeface="Times New Roman"/>
              <a:cs typeface="Times New Roman"/>
            </a:endParaRPr>
          </a:p>
          <a:p>
            <a:pPr marL="200025">
              <a:lnSpc>
                <a:spcPct val="100000"/>
              </a:lnSpc>
            </a:pPr>
            <a:r>
              <a:rPr sz="1200" b="1" spc="-20" dirty="0">
                <a:solidFill>
                  <a:srgbClr val="3333CC"/>
                </a:solidFill>
                <a:latin typeface="Arial"/>
                <a:cs typeface="Arial"/>
              </a:rPr>
              <a:t>Tax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38800" y="1219200"/>
            <a:ext cx="2362200" cy="24384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57150">
              <a:lnSpc>
                <a:spcPts val="1805"/>
              </a:lnSpc>
            </a:pPr>
            <a:r>
              <a:rPr sz="1600" b="1" u="heavy" spc="-5" dirty="0">
                <a:solidFill>
                  <a:srgbClr val="3333CC"/>
                </a:solidFill>
                <a:latin typeface="Arial"/>
                <a:cs typeface="Arial"/>
              </a:rPr>
              <a:t>Condition</a:t>
            </a:r>
            <a:r>
              <a:rPr sz="1600" b="1" u="heavy" spc="-6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600" b="1" u="heavy" spc="-40" dirty="0">
                <a:solidFill>
                  <a:srgbClr val="3333CC"/>
                </a:solidFill>
                <a:latin typeface="Arial"/>
                <a:cs typeface="Arial"/>
              </a:rPr>
              <a:t>Types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550">
              <a:latin typeface="Times New Roman"/>
              <a:cs typeface="Times New Roman"/>
            </a:endParaRPr>
          </a:p>
          <a:p>
            <a:pPr marL="57150">
              <a:lnSpc>
                <a:spcPct val="100000"/>
              </a:lnSpc>
            </a:pPr>
            <a:r>
              <a:rPr sz="1200" b="1" spc="-5" dirty="0">
                <a:solidFill>
                  <a:srgbClr val="3333CC"/>
                </a:solidFill>
                <a:latin typeface="Times New Roman"/>
                <a:cs typeface="Times New Roman"/>
              </a:rPr>
              <a:t>PR00 </a:t>
            </a:r>
            <a:r>
              <a:rPr sz="1200" b="1" dirty="0">
                <a:solidFill>
                  <a:srgbClr val="3333CC"/>
                </a:solidFill>
                <a:latin typeface="Times New Roman"/>
                <a:cs typeface="Times New Roman"/>
              </a:rPr>
              <a:t>-</a:t>
            </a:r>
            <a:r>
              <a:rPr sz="1200" b="1" spc="-85" dirty="0">
                <a:solidFill>
                  <a:srgbClr val="3333CC"/>
                </a:solidFill>
                <a:latin typeface="Times New Roman"/>
                <a:cs typeface="Times New Roman"/>
              </a:rPr>
              <a:t> </a:t>
            </a:r>
            <a:r>
              <a:rPr sz="1200" b="1" spc="-5" dirty="0">
                <a:solidFill>
                  <a:srgbClr val="3333CC"/>
                </a:solidFill>
                <a:latin typeface="Times New Roman"/>
                <a:cs typeface="Times New Roman"/>
              </a:rPr>
              <a:t>Price</a:t>
            </a: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550">
              <a:latin typeface="Times New Roman"/>
              <a:cs typeface="Times New Roman"/>
            </a:endParaRPr>
          </a:p>
          <a:p>
            <a:pPr marL="57150">
              <a:lnSpc>
                <a:spcPct val="100000"/>
              </a:lnSpc>
              <a:spcBef>
                <a:spcPts val="5"/>
              </a:spcBef>
            </a:pP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K029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– Material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Group discount  K004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– Material</a:t>
            </a:r>
            <a:r>
              <a:rPr sz="1200" b="1" spc="-10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discount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500">
              <a:latin typeface="Times New Roman"/>
              <a:cs typeface="Times New Roman"/>
            </a:endParaRPr>
          </a:p>
          <a:p>
            <a:pPr marL="57150">
              <a:lnSpc>
                <a:spcPct val="100000"/>
              </a:lnSpc>
            </a:pP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KF00 -</a:t>
            </a:r>
            <a:r>
              <a:rPr sz="1200" b="1" spc="-12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Freight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000">
              <a:latin typeface="Times New Roman"/>
              <a:cs typeface="Times New Roman"/>
            </a:endParaRPr>
          </a:p>
          <a:p>
            <a:pPr marL="57150">
              <a:lnSpc>
                <a:spcPct val="100000"/>
              </a:lnSpc>
            </a:pPr>
            <a:r>
              <a:rPr sz="1200" b="1" dirty="0">
                <a:solidFill>
                  <a:srgbClr val="3333CC"/>
                </a:solidFill>
                <a:latin typeface="Arial"/>
                <a:cs typeface="Arial"/>
              </a:rPr>
              <a:t>MWST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– Output</a:t>
            </a:r>
            <a:r>
              <a:rPr sz="1200" b="1" spc="-4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3333CC"/>
                </a:solidFill>
                <a:latin typeface="Arial"/>
                <a:cs typeface="Arial"/>
              </a:rPr>
              <a:t>tax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95400" y="1219200"/>
            <a:ext cx="1905000" cy="24384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5090">
              <a:lnSpc>
                <a:spcPct val="100000"/>
              </a:lnSpc>
              <a:spcBef>
                <a:spcPts val="260"/>
              </a:spcBef>
            </a:pPr>
            <a:r>
              <a:rPr sz="1600" b="1" u="heavy" spc="-5" dirty="0">
                <a:solidFill>
                  <a:srgbClr val="3333CC"/>
                </a:solidFill>
                <a:latin typeface="Arial"/>
                <a:cs typeface="Arial"/>
              </a:rPr>
              <a:t>Pricing</a:t>
            </a:r>
            <a:r>
              <a:rPr sz="1600" b="1" u="heavy" spc="-5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600" b="1" u="heavy" spc="-5" dirty="0">
                <a:solidFill>
                  <a:srgbClr val="3333CC"/>
                </a:solidFill>
                <a:latin typeface="Arial"/>
                <a:cs typeface="Arial"/>
              </a:rPr>
              <a:t>Elements</a:t>
            </a:r>
            <a:endParaRPr sz="1600">
              <a:latin typeface="Arial"/>
              <a:cs typeface="Arial"/>
            </a:endParaRPr>
          </a:p>
          <a:p>
            <a:pPr marL="85090">
              <a:lnSpc>
                <a:spcPct val="100000"/>
              </a:lnSpc>
              <a:spcBef>
                <a:spcPts val="1155"/>
              </a:spcBef>
            </a:pPr>
            <a:r>
              <a:rPr sz="1600" b="1" spc="-5" dirty="0">
                <a:solidFill>
                  <a:srgbClr val="0000FF"/>
                </a:solidFill>
                <a:latin typeface="Arial"/>
                <a:cs typeface="Arial"/>
              </a:rPr>
              <a:t>Prices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150">
              <a:latin typeface="Times New Roman"/>
              <a:cs typeface="Times New Roman"/>
            </a:endParaRPr>
          </a:p>
          <a:p>
            <a:pPr marL="85090">
              <a:lnSpc>
                <a:spcPct val="100000"/>
              </a:lnSpc>
            </a:pPr>
            <a:r>
              <a:rPr sz="1600" b="1" spc="-5" dirty="0">
                <a:solidFill>
                  <a:srgbClr val="0000FF"/>
                </a:solidFill>
                <a:latin typeface="Arial"/>
                <a:cs typeface="Arial"/>
              </a:rPr>
              <a:t>Discount</a:t>
            </a:r>
            <a:r>
              <a:rPr sz="1600" b="1" spc="-80" dirty="0">
                <a:solidFill>
                  <a:srgbClr val="0000FF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0000FF"/>
                </a:solidFill>
                <a:latin typeface="Arial"/>
                <a:cs typeface="Arial"/>
              </a:rPr>
              <a:t>/</a:t>
            </a:r>
            <a:endParaRPr sz="1600">
              <a:latin typeface="Arial"/>
              <a:cs typeface="Arial"/>
            </a:endParaRPr>
          </a:p>
          <a:p>
            <a:pPr marL="85090">
              <a:lnSpc>
                <a:spcPct val="100000"/>
              </a:lnSpc>
            </a:pPr>
            <a:r>
              <a:rPr sz="1600" b="1" spc="-5" dirty="0">
                <a:solidFill>
                  <a:srgbClr val="0000FF"/>
                </a:solidFill>
                <a:latin typeface="Arial"/>
                <a:cs typeface="Arial"/>
              </a:rPr>
              <a:t>Surcharges</a:t>
            </a:r>
            <a:endParaRPr sz="1600">
              <a:latin typeface="Arial"/>
              <a:cs typeface="Arial"/>
            </a:endParaRPr>
          </a:p>
          <a:p>
            <a:pPr marL="85090">
              <a:lnSpc>
                <a:spcPct val="100000"/>
              </a:lnSpc>
              <a:spcBef>
                <a:spcPts val="1010"/>
              </a:spcBef>
            </a:pPr>
            <a:r>
              <a:rPr sz="1600" b="1" spc="-5" dirty="0">
                <a:solidFill>
                  <a:srgbClr val="0000FF"/>
                </a:solidFill>
                <a:latin typeface="Arial"/>
                <a:cs typeface="Arial"/>
              </a:rPr>
              <a:t>Freight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800">
              <a:latin typeface="Times New Roman"/>
              <a:cs typeface="Times New Roman"/>
            </a:endParaRPr>
          </a:p>
          <a:p>
            <a:pPr marL="85090">
              <a:lnSpc>
                <a:spcPct val="100000"/>
              </a:lnSpc>
            </a:pPr>
            <a:r>
              <a:rPr sz="1600" b="1" spc="-30" dirty="0">
                <a:solidFill>
                  <a:srgbClr val="0000FF"/>
                </a:solidFill>
                <a:latin typeface="Arial"/>
                <a:cs typeface="Arial"/>
              </a:rPr>
              <a:t>Taxes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868167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" y="254846"/>
            <a:ext cx="91439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lang="en-US" dirty="0" smtClean="0"/>
              <a:t>Sales &amp;</a:t>
            </a:r>
            <a:r>
              <a:rPr lang="en-US" spc="-55" dirty="0" smtClean="0"/>
              <a:t> </a:t>
            </a:r>
            <a:r>
              <a:rPr lang="en-US" dirty="0" smtClean="0"/>
              <a:t>Distribution</a:t>
            </a:r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4530852" y="1188719"/>
            <a:ext cx="390144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470903" y="1188719"/>
            <a:ext cx="377951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51459" y="1463039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051560" y="1737360"/>
            <a:ext cx="428244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080260" y="1737360"/>
            <a:ext cx="377951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051560" y="2011679"/>
            <a:ext cx="428244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051560" y="2286000"/>
            <a:ext cx="428244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385060" y="2286000"/>
            <a:ext cx="377951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08659" y="2560320"/>
            <a:ext cx="377952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32205" y="1461516"/>
            <a:ext cx="6245860" cy="1382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i="1" dirty="0">
                <a:latin typeface="Arial"/>
                <a:cs typeface="Arial"/>
              </a:rPr>
              <a:t>In this </a:t>
            </a:r>
            <a:r>
              <a:rPr sz="1800" b="1" i="1" spc="-5" dirty="0">
                <a:latin typeface="Arial"/>
                <a:cs typeface="Arial"/>
              </a:rPr>
              <a:t>course, we </a:t>
            </a:r>
            <a:r>
              <a:rPr sz="1800" b="1" i="1" dirty="0">
                <a:latin typeface="Arial"/>
                <a:cs typeface="Arial"/>
              </a:rPr>
              <a:t>will </a:t>
            </a:r>
            <a:r>
              <a:rPr sz="1800" b="1" i="1" spc="-5" dirty="0">
                <a:latin typeface="Arial"/>
                <a:cs typeface="Arial"/>
              </a:rPr>
              <a:t>cover 3 main </a:t>
            </a:r>
            <a:r>
              <a:rPr sz="1800" b="1" i="1" dirty="0">
                <a:latin typeface="Arial"/>
                <a:cs typeface="Arial"/>
              </a:rPr>
              <a:t>sub-topics which</a:t>
            </a:r>
            <a:r>
              <a:rPr sz="1800" b="1" i="1" spc="-40" dirty="0">
                <a:latin typeface="Arial"/>
                <a:cs typeface="Arial"/>
              </a:rPr>
              <a:t> </a:t>
            </a:r>
            <a:r>
              <a:rPr sz="1800" b="1" i="1" spc="-5" dirty="0">
                <a:latin typeface="Arial"/>
                <a:cs typeface="Arial"/>
              </a:rPr>
              <a:t>are: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927100" indent="-457200">
              <a:lnSpc>
                <a:spcPct val="100000"/>
              </a:lnSpc>
              <a:buAutoNum type="arabicPeriod"/>
              <a:tabLst>
                <a:tab pos="927100" algn="l"/>
                <a:tab pos="927735" algn="l"/>
              </a:tabLst>
            </a:pPr>
            <a:r>
              <a:rPr sz="1800" b="1" i="1" dirty="0">
                <a:latin typeface="Arial"/>
                <a:cs typeface="Arial"/>
              </a:rPr>
              <a:t>Purpose</a:t>
            </a:r>
            <a:endParaRPr sz="1800" dirty="0">
              <a:latin typeface="Arial"/>
              <a:cs typeface="Arial"/>
            </a:endParaRPr>
          </a:p>
          <a:p>
            <a:pPr marL="927100" indent="-457200">
              <a:lnSpc>
                <a:spcPct val="100000"/>
              </a:lnSpc>
              <a:buAutoNum type="arabicPeriod"/>
              <a:tabLst>
                <a:tab pos="927100" algn="l"/>
                <a:tab pos="927735" algn="l"/>
              </a:tabLst>
            </a:pPr>
            <a:r>
              <a:rPr sz="1800" b="1" i="1" spc="-5" dirty="0">
                <a:latin typeface="Arial"/>
                <a:cs typeface="Arial"/>
              </a:rPr>
              <a:t>Use</a:t>
            </a:r>
            <a:endParaRPr sz="1800" dirty="0">
              <a:latin typeface="Arial"/>
              <a:cs typeface="Arial"/>
            </a:endParaRPr>
          </a:p>
          <a:p>
            <a:pPr marL="927100" indent="-457200">
              <a:lnSpc>
                <a:spcPct val="100000"/>
              </a:lnSpc>
              <a:buAutoNum type="arabicPeriod"/>
              <a:tabLst>
                <a:tab pos="927100" algn="l"/>
                <a:tab pos="927735" algn="l"/>
              </a:tabLst>
            </a:pPr>
            <a:r>
              <a:rPr sz="1800" b="1" i="1" spc="-5" dirty="0">
                <a:latin typeface="Arial"/>
                <a:cs typeface="Arial"/>
              </a:rPr>
              <a:t>Challenge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524000" y="2971800"/>
            <a:ext cx="5715000" cy="29718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051560" y="1841783"/>
            <a:ext cx="6659257" cy="429394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4543044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</a:t>
            </a:r>
            <a:r>
              <a:rPr spc="-85" dirty="0"/>
              <a:t> </a:t>
            </a:r>
            <a:r>
              <a:rPr dirty="0"/>
              <a:t>Pricing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635000" y="1289558"/>
            <a:ext cx="7536180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Arial"/>
                <a:cs typeface="Arial"/>
              </a:rPr>
              <a:t>Pricing is a broad </a:t>
            </a:r>
            <a:r>
              <a:rPr sz="1800" dirty="0">
                <a:latin typeface="Arial"/>
                <a:cs typeface="Arial"/>
              </a:rPr>
              <a:t>term to </a:t>
            </a:r>
            <a:r>
              <a:rPr sz="1800" spc="-5" dirty="0">
                <a:latin typeface="Arial"/>
                <a:cs typeface="Arial"/>
              </a:rPr>
              <a:t>describe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calculation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prices.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pricing  conditions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include: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77900" y="1893061"/>
            <a:ext cx="735965" cy="614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Price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34"/>
              </a:spcBef>
            </a:pPr>
            <a:r>
              <a:rPr sz="1800" dirty="0">
                <a:latin typeface="Arial"/>
                <a:cs typeface="Arial"/>
              </a:rPr>
              <a:t>Fre</a:t>
            </a:r>
            <a:r>
              <a:rPr sz="1800" spc="-10" dirty="0">
                <a:latin typeface="Arial"/>
                <a:cs typeface="Arial"/>
              </a:rPr>
              <a:t>igh</a:t>
            </a:r>
            <a:r>
              <a:rPr sz="1800" dirty="0">
                <a:latin typeface="Arial"/>
                <a:cs typeface="Arial"/>
              </a:rPr>
              <a:t>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464054" y="1893061"/>
            <a:ext cx="2117090" cy="614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Discount </a:t>
            </a:r>
            <a:r>
              <a:rPr sz="1800" dirty="0">
                <a:latin typeface="Arial"/>
                <a:cs typeface="Arial"/>
              </a:rPr>
              <a:t>/</a:t>
            </a:r>
            <a:r>
              <a:rPr sz="1800" spc="-6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urcharge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34"/>
              </a:spcBef>
            </a:pPr>
            <a:r>
              <a:rPr sz="1800" spc="-45" dirty="0">
                <a:latin typeface="Arial"/>
                <a:cs typeface="Arial"/>
              </a:rPr>
              <a:t>Taxe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35000" y="2551810"/>
            <a:ext cx="7578725" cy="176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224790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1800" dirty="0">
                <a:latin typeface="Arial"/>
                <a:cs typeface="Arial"/>
              </a:rPr>
              <a:t>In SAP </a:t>
            </a:r>
            <a:r>
              <a:rPr sz="1800" spc="-5" dirty="0">
                <a:latin typeface="Arial"/>
                <a:cs typeface="Arial"/>
              </a:rPr>
              <a:t>a data record that stores a condition is called condition record  (pricing condition record in case </a:t>
            </a:r>
            <a:r>
              <a:rPr sz="1800" dirty="0">
                <a:latin typeface="Arial"/>
                <a:cs typeface="Arial"/>
              </a:rPr>
              <a:t>of</a:t>
            </a:r>
            <a:r>
              <a:rPr sz="1800" spc="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ricing).</a:t>
            </a:r>
            <a:endParaRPr sz="1800">
              <a:latin typeface="Arial"/>
              <a:cs typeface="Arial"/>
            </a:endParaRPr>
          </a:p>
          <a:p>
            <a:pPr marL="355600" marR="5080" indent="-342900">
              <a:lnSpc>
                <a:spcPct val="100000"/>
              </a:lnSpc>
              <a:spcBef>
                <a:spcPts val="430"/>
              </a:spcBef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Arial"/>
                <a:cs typeface="Arial"/>
              </a:rPr>
              <a:t>Pricing condition records can be maintained </a:t>
            </a:r>
            <a:r>
              <a:rPr sz="1800" dirty="0">
                <a:latin typeface="Arial"/>
                <a:cs typeface="Arial"/>
              </a:rPr>
              <a:t>at </a:t>
            </a:r>
            <a:r>
              <a:rPr sz="1800" spc="-5" dirty="0">
                <a:latin typeface="Arial"/>
                <a:cs typeface="Arial"/>
              </a:rPr>
              <a:t>any level, e.g. </a:t>
            </a:r>
            <a:r>
              <a:rPr sz="1800" spc="-15" dirty="0">
                <a:latin typeface="Arial"/>
                <a:cs typeface="Arial"/>
              </a:rPr>
              <a:t>customer,  </a:t>
            </a:r>
            <a:r>
              <a:rPr sz="1800" spc="-5" dirty="0">
                <a:latin typeface="Arial"/>
                <a:cs typeface="Arial"/>
              </a:rPr>
              <a:t>material, customer/material, material group, customer</a:t>
            </a:r>
            <a:r>
              <a:rPr sz="1800" spc="1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group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34"/>
              </a:spcBef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Arial"/>
                <a:cs typeface="Arial"/>
              </a:rPr>
              <a:t>Pricing condition records </a:t>
            </a:r>
            <a:r>
              <a:rPr sz="1800" spc="-10" dirty="0">
                <a:latin typeface="Arial"/>
                <a:cs typeface="Arial"/>
              </a:rPr>
              <a:t>will </a:t>
            </a:r>
            <a:r>
              <a:rPr sz="1800" spc="-5" dirty="0">
                <a:latin typeface="Arial"/>
                <a:cs typeface="Arial"/>
              </a:rPr>
              <a:t>have validity periods, </a:t>
            </a:r>
            <a:r>
              <a:rPr sz="1800" spc="-10" dirty="0">
                <a:latin typeface="Arial"/>
                <a:cs typeface="Arial"/>
              </a:rPr>
              <a:t>upper </a:t>
            </a:r>
            <a:r>
              <a:rPr sz="1800" dirty="0">
                <a:latin typeface="Arial"/>
                <a:cs typeface="Arial"/>
              </a:rPr>
              <a:t>&amp; </a:t>
            </a:r>
            <a:r>
              <a:rPr sz="1800" spc="-15" dirty="0">
                <a:latin typeface="Arial"/>
                <a:cs typeface="Arial"/>
              </a:rPr>
              <a:t>lower</a:t>
            </a:r>
            <a:r>
              <a:rPr sz="1800" spc="19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limits</a:t>
            </a:r>
            <a:endParaRPr sz="180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and also</a:t>
            </a:r>
            <a:r>
              <a:rPr sz="1800" spc="-7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cale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990600" y="4572000"/>
            <a:ext cx="6858000" cy="1676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976312" y="4557712"/>
            <a:ext cx="6886575" cy="1704975"/>
          </a:xfrm>
          <a:custGeom>
            <a:avLst/>
            <a:gdLst/>
            <a:ahLst/>
            <a:cxnLst/>
            <a:rect l="l" t="t" r="r" b="b"/>
            <a:pathLst>
              <a:path w="6886575" h="1704975">
                <a:moveTo>
                  <a:pt x="0" y="1704975"/>
                </a:moveTo>
                <a:lnTo>
                  <a:pt x="6886575" y="1704975"/>
                </a:lnTo>
                <a:lnTo>
                  <a:pt x="6886575" y="0"/>
                </a:lnTo>
                <a:lnTo>
                  <a:pt x="0" y="0"/>
                </a:lnTo>
                <a:lnTo>
                  <a:pt x="0" y="1704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2491739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</a:t>
            </a:r>
            <a:r>
              <a:rPr spc="-100" dirty="0"/>
              <a:t> </a:t>
            </a:r>
            <a:r>
              <a:rPr spc="-65" dirty="0"/>
              <a:t>Texts</a:t>
            </a:r>
          </a:p>
        </p:txBody>
      </p:sp>
      <p:sp>
        <p:nvSpPr>
          <p:cNvPr id="8" name="object 8"/>
          <p:cNvSpPr/>
          <p:nvPr/>
        </p:nvSpPr>
        <p:spPr>
          <a:xfrm>
            <a:off x="944029" y="3695700"/>
            <a:ext cx="6816471" cy="12001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44029" y="369570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236722" y="4184522"/>
            <a:ext cx="223075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Customer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– material</a:t>
            </a:r>
            <a:r>
              <a:rPr sz="14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33400" y="37662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33400" y="37662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576173" y="4007104"/>
            <a:ext cx="147447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r>
              <a:rPr sz="14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terial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75105" y="4220464"/>
            <a:ext cx="32448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Info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944029" y="4895850"/>
            <a:ext cx="6816471" cy="12001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44029" y="489585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992627" y="5384800"/>
            <a:ext cx="112585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Header</a:t>
            </a:r>
            <a:r>
              <a:rPr sz="14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821682" y="5384800"/>
            <a:ext cx="89026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r>
              <a:rPr sz="1400" b="1" spc="-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944029" y="2495550"/>
            <a:ext cx="6816471" cy="12001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944029" y="249555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2687827" y="2983865"/>
            <a:ext cx="99821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Basic</a:t>
            </a:r>
            <a:r>
              <a:rPr sz="1400" b="1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974338" y="2983865"/>
            <a:ext cx="99060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400" b="1" spc="-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279730" y="2983865"/>
            <a:ext cx="132588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Purchase</a:t>
            </a:r>
            <a:r>
              <a:rPr sz="1400" b="1" spc="-6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33400" y="256609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33400" y="256609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688949" y="2913507"/>
            <a:ext cx="124904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terial</a:t>
            </a:r>
            <a:r>
              <a:rPr sz="14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944029" y="1295400"/>
            <a:ext cx="6816471" cy="12001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44029" y="129540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3675634" y="1752600"/>
            <a:ext cx="135318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Central</a:t>
            </a:r>
            <a:r>
              <a:rPr sz="18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4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33400" y="13659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33400" y="13659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620369" y="1712848"/>
            <a:ext cx="13862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r>
              <a:rPr sz="1400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187297" y="2313178"/>
            <a:ext cx="1671955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Financial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Accounting</a:t>
            </a:r>
            <a:r>
              <a:rPr sz="10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398901" y="2313178"/>
            <a:ext cx="1596390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Sales &amp; Distribution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049540" y="2313178"/>
            <a:ext cx="1310005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Contact Person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227829" y="2057780"/>
            <a:ext cx="2383155" cy="261620"/>
          </a:xfrm>
          <a:custGeom>
            <a:avLst/>
            <a:gdLst/>
            <a:ahLst/>
            <a:cxnLst/>
            <a:rect l="l" t="t" r="r" b="b"/>
            <a:pathLst>
              <a:path w="2383154" h="261619">
                <a:moveTo>
                  <a:pt x="2301367" y="175641"/>
                </a:moveTo>
                <a:lnTo>
                  <a:pt x="2298830" y="204095"/>
                </a:lnTo>
                <a:lnTo>
                  <a:pt x="2313051" y="205359"/>
                </a:lnTo>
                <a:lnTo>
                  <a:pt x="2310511" y="233934"/>
                </a:lnTo>
                <a:lnTo>
                  <a:pt x="2296170" y="233934"/>
                </a:lnTo>
                <a:lnTo>
                  <a:pt x="2293747" y="261112"/>
                </a:lnTo>
                <a:lnTo>
                  <a:pt x="2362624" y="233934"/>
                </a:lnTo>
                <a:lnTo>
                  <a:pt x="2310511" y="233934"/>
                </a:lnTo>
                <a:lnTo>
                  <a:pt x="2296282" y="232668"/>
                </a:lnTo>
                <a:lnTo>
                  <a:pt x="2365830" y="232668"/>
                </a:lnTo>
                <a:lnTo>
                  <a:pt x="2382901" y="225933"/>
                </a:lnTo>
                <a:lnTo>
                  <a:pt x="2301367" y="175641"/>
                </a:lnTo>
                <a:close/>
              </a:path>
              <a:path w="2383154" h="261619">
                <a:moveTo>
                  <a:pt x="2298830" y="204095"/>
                </a:moveTo>
                <a:lnTo>
                  <a:pt x="2296282" y="232668"/>
                </a:lnTo>
                <a:lnTo>
                  <a:pt x="2310511" y="233934"/>
                </a:lnTo>
                <a:lnTo>
                  <a:pt x="2313051" y="205359"/>
                </a:lnTo>
                <a:lnTo>
                  <a:pt x="2298830" y="204095"/>
                </a:lnTo>
                <a:close/>
              </a:path>
              <a:path w="2383154" h="261619">
                <a:moveTo>
                  <a:pt x="2540" y="0"/>
                </a:moveTo>
                <a:lnTo>
                  <a:pt x="0" y="28448"/>
                </a:lnTo>
                <a:lnTo>
                  <a:pt x="2296282" y="232668"/>
                </a:lnTo>
                <a:lnTo>
                  <a:pt x="2298830" y="204095"/>
                </a:lnTo>
                <a:lnTo>
                  <a:pt x="25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422270" y="2057780"/>
            <a:ext cx="1808480" cy="259079"/>
          </a:xfrm>
          <a:custGeom>
            <a:avLst/>
            <a:gdLst/>
            <a:ahLst/>
            <a:cxnLst/>
            <a:rect l="l" t="t" r="r" b="b"/>
            <a:pathLst>
              <a:path w="1808479" h="259080">
                <a:moveTo>
                  <a:pt x="80137" y="173482"/>
                </a:moveTo>
                <a:lnTo>
                  <a:pt x="0" y="225933"/>
                </a:lnTo>
                <a:lnTo>
                  <a:pt x="90170" y="258572"/>
                </a:lnTo>
                <a:lnTo>
                  <a:pt x="87025" y="231902"/>
                </a:lnTo>
                <a:lnTo>
                  <a:pt x="72643" y="231902"/>
                </a:lnTo>
                <a:lnTo>
                  <a:pt x="69342" y="203454"/>
                </a:lnTo>
                <a:lnTo>
                  <a:pt x="83475" y="201797"/>
                </a:lnTo>
                <a:lnTo>
                  <a:pt x="80137" y="173482"/>
                </a:lnTo>
                <a:close/>
              </a:path>
              <a:path w="1808479" h="259080">
                <a:moveTo>
                  <a:pt x="83475" y="201797"/>
                </a:moveTo>
                <a:lnTo>
                  <a:pt x="69342" y="203454"/>
                </a:lnTo>
                <a:lnTo>
                  <a:pt x="72643" y="231902"/>
                </a:lnTo>
                <a:lnTo>
                  <a:pt x="86829" y="230238"/>
                </a:lnTo>
                <a:lnTo>
                  <a:pt x="83475" y="201797"/>
                </a:lnTo>
                <a:close/>
              </a:path>
              <a:path w="1808479" h="259080">
                <a:moveTo>
                  <a:pt x="86829" y="230238"/>
                </a:moveTo>
                <a:lnTo>
                  <a:pt x="72643" y="231902"/>
                </a:lnTo>
                <a:lnTo>
                  <a:pt x="87025" y="231902"/>
                </a:lnTo>
                <a:lnTo>
                  <a:pt x="86829" y="230238"/>
                </a:lnTo>
                <a:close/>
              </a:path>
              <a:path w="1808479" h="259080">
                <a:moveTo>
                  <a:pt x="1805178" y="0"/>
                </a:moveTo>
                <a:lnTo>
                  <a:pt x="83475" y="201797"/>
                </a:lnTo>
                <a:lnTo>
                  <a:pt x="86829" y="230238"/>
                </a:lnTo>
                <a:lnTo>
                  <a:pt x="1808480" y="28321"/>
                </a:lnTo>
                <a:lnTo>
                  <a:pt x="18051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33400" y="4966461"/>
            <a:ext cx="1314450" cy="1129665"/>
          </a:xfrm>
          <a:custGeom>
            <a:avLst/>
            <a:gdLst/>
            <a:ahLst/>
            <a:cxnLst/>
            <a:rect l="l" t="t" r="r" b="b"/>
            <a:pathLst>
              <a:path w="1314450" h="1129664">
                <a:moveTo>
                  <a:pt x="1314069" y="0"/>
                </a:moveTo>
                <a:lnTo>
                  <a:pt x="0" y="0"/>
                </a:lnTo>
                <a:lnTo>
                  <a:pt x="0" y="1129538"/>
                </a:lnTo>
                <a:lnTo>
                  <a:pt x="1172845" y="1129538"/>
                </a:lnTo>
                <a:lnTo>
                  <a:pt x="1314069" y="988339"/>
                </a:lnTo>
                <a:lnTo>
                  <a:pt x="1314069" y="0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706245" y="5954801"/>
            <a:ext cx="141605" cy="141605"/>
          </a:xfrm>
          <a:custGeom>
            <a:avLst/>
            <a:gdLst/>
            <a:ahLst/>
            <a:cxnLst/>
            <a:rect l="l" t="t" r="r" b="b"/>
            <a:pathLst>
              <a:path w="141605" h="141604">
                <a:moveTo>
                  <a:pt x="141224" y="0"/>
                </a:moveTo>
                <a:lnTo>
                  <a:pt x="28193" y="28244"/>
                </a:lnTo>
                <a:lnTo>
                  <a:pt x="0" y="141198"/>
                </a:lnTo>
                <a:lnTo>
                  <a:pt x="141224" y="0"/>
                </a:lnTo>
                <a:close/>
              </a:path>
            </a:pathLst>
          </a:custGeom>
          <a:solidFill>
            <a:srgbClr val="CD7A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33400" y="4966461"/>
            <a:ext cx="1314450" cy="1129665"/>
          </a:xfrm>
          <a:custGeom>
            <a:avLst/>
            <a:gdLst/>
            <a:ahLst/>
            <a:cxnLst/>
            <a:rect l="l" t="t" r="r" b="b"/>
            <a:pathLst>
              <a:path w="1314450" h="1129664">
                <a:moveTo>
                  <a:pt x="1172845" y="1129538"/>
                </a:moveTo>
                <a:lnTo>
                  <a:pt x="1201039" y="1016584"/>
                </a:lnTo>
                <a:lnTo>
                  <a:pt x="1314069" y="988339"/>
                </a:lnTo>
                <a:lnTo>
                  <a:pt x="1172845" y="1129538"/>
                </a:lnTo>
                <a:lnTo>
                  <a:pt x="0" y="1129538"/>
                </a:lnTo>
                <a:lnTo>
                  <a:pt x="0" y="0"/>
                </a:lnTo>
                <a:lnTo>
                  <a:pt x="1314069" y="0"/>
                </a:lnTo>
                <a:lnTo>
                  <a:pt x="1314069" y="988339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612140" y="4998973"/>
            <a:ext cx="93408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4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----------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----------</a:t>
            </a:r>
            <a:endParaRPr sz="1400">
              <a:latin typeface="Arial"/>
              <a:cs typeface="Arial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4191000" y="2142617"/>
            <a:ext cx="76200" cy="141605"/>
          </a:xfrm>
          <a:custGeom>
            <a:avLst/>
            <a:gdLst/>
            <a:ahLst/>
            <a:cxnLst/>
            <a:rect l="l" t="t" r="r" b="b"/>
            <a:pathLst>
              <a:path w="76200" h="141605">
                <a:moveTo>
                  <a:pt x="31750" y="64897"/>
                </a:moveTo>
                <a:lnTo>
                  <a:pt x="0" y="64897"/>
                </a:lnTo>
                <a:lnTo>
                  <a:pt x="38100" y="141097"/>
                </a:lnTo>
                <a:lnTo>
                  <a:pt x="69850" y="77597"/>
                </a:lnTo>
                <a:lnTo>
                  <a:pt x="31750" y="77597"/>
                </a:lnTo>
                <a:lnTo>
                  <a:pt x="31750" y="64897"/>
                </a:lnTo>
                <a:close/>
              </a:path>
              <a:path w="76200" h="141605">
                <a:moveTo>
                  <a:pt x="44450" y="0"/>
                </a:moveTo>
                <a:lnTo>
                  <a:pt x="31750" y="0"/>
                </a:lnTo>
                <a:lnTo>
                  <a:pt x="31750" y="77597"/>
                </a:lnTo>
                <a:lnTo>
                  <a:pt x="44450" y="77597"/>
                </a:lnTo>
                <a:lnTo>
                  <a:pt x="44450" y="0"/>
                </a:lnTo>
                <a:close/>
              </a:path>
              <a:path w="76200" h="141605">
                <a:moveTo>
                  <a:pt x="76200" y="64897"/>
                </a:moveTo>
                <a:lnTo>
                  <a:pt x="44450" y="64897"/>
                </a:lnTo>
                <a:lnTo>
                  <a:pt x="44450" y="77597"/>
                </a:lnTo>
                <a:lnTo>
                  <a:pt x="69850" y="77597"/>
                </a:lnTo>
                <a:lnTo>
                  <a:pt x="76200" y="648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7858" y="181102"/>
            <a:ext cx="3432810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Utilities –</a:t>
            </a:r>
            <a:r>
              <a:rPr sz="4000" spc="-25" dirty="0"/>
              <a:t> </a:t>
            </a:r>
            <a:r>
              <a:rPr sz="4000" spc="-80" dirty="0"/>
              <a:t>Text</a:t>
            </a:r>
            <a:endParaRPr sz="4000"/>
          </a:p>
        </p:txBody>
      </p:sp>
      <p:sp>
        <p:nvSpPr>
          <p:cNvPr id="3" name="object 3"/>
          <p:cNvSpPr/>
          <p:nvPr/>
        </p:nvSpPr>
        <p:spPr>
          <a:xfrm>
            <a:off x="239032" y="1500048"/>
            <a:ext cx="3975100" cy="1930400"/>
          </a:xfrm>
          <a:custGeom>
            <a:avLst/>
            <a:gdLst/>
            <a:ahLst/>
            <a:cxnLst/>
            <a:rect l="l" t="t" r="r" b="b"/>
            <a:pathLst>
              <a:path w="3975100" h="1930400">
                <a:moveTo>
                  <a:pt x="0" y="1930400"/>
                </a:moveTo>
                <a:lnTo>
                  <a:pt x="3975100" y="1930400"/>
                </a:lnTo>
                <a:lnTo>
                  <a:pt x="3975100" y="0"/>
                </a:lnTo>
                <a:lnTo>
                  <a:pt x="0" y="0"/>
                </a:lnTo>
                <a:lnTo>
                  <a:pt x="0" y="1930400"/>
                </a:lnTo>
                <a:close/>
              </a:path>
            </a:pathLst>
          </a:custGeom>
          <a:solidFill>
            <a:srgbClr val="CCE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56870" y="2336800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23058" y="2448116"/>
            <a:ext cx="1245870" cy="730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2705" marR="43815" algn="ctr">
              <a:lnSpc>
                <a:spcPct val="100000"/>
              </a:lnSpc>
            </a:pPr>
            <a:r>
              <a:rPr sz="1200" b="1" u="heavy" spc="-5" dirty="0">
                <a:latin typeface="Times New Roman"/>
                <a:cs typeface="Times New Roman"/>
              </a:rPr>
              <a:t>Customer</a:t>
            </a:r>
            <a:r>
              <a:rPr sz="1200" b="1" u="heavy" spc="-90" dirty="0">
                <a:latin typeface="Times New Roman"/>
                <a:cs typeface="Times New Roman"/>
              </a:rPr>
              <a:t> </a:t>
            </a:r>
            <a:r>
              <a:rPr sz="1200" b="1" u="heavy" spc="-5" dirty="0">
                <a:latin typeface="Times New Roman"/>
                <a:cs typeface="Times New Roman"/>
              </a:rPr>
              <a:t>Master  </a:t>
            </a:r>
            <a:r>
              <a:rPr sz="1200" spc="-5" dirty="0">
                <a:latin typeface="Times New Roman"/>
                <a:cs typeface="Times New Roman"/>
              </a:rPr>
              <a:t>Central </a:t>
            </a:r>
            <a:r>
              <a:rPr sz="1200" spc="-20" dirty="0">
                <a:latin typeface="Times New Roman"/>
                <a:cs typeface="Times New Roman"/>
              </a:rPr>
              <a:t>Texts  </a:t>
            </a:r>
            <a:r>
              <a:rPr sz="1200" spc="-5" dirty="0">
                <a:latin typeface="Times New Roman"/>
                <a:cs typeface="Times New Roman"/>
              </a:rPr>
              <a:t>S&amp;D</a:t>
            </a:r>
            <a:r>
              <a:rPr sz="1200" spc="-95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</a:p>
          <a:p>
            <a:pPr algn="ctr">
              <a:lnSpc>
                <a:spcPts val="1435"/>
              </a:lnSpc>
            </a:pPr>
            <a:r>
              <a:rPr sz="1200" spc="-5" dirty="0">
                <a:latin typeface="Times New Roman"/>
                <a:cs typeface="Times New Roman"/>
              </a:rPr>
              <a:t>Contact person</a:t>
            </a:r>
            <a:r>
              <a:rPr sz="1200" spc="-40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1629682" y="2353373"/>
            <a:ext cx="1193800" cy="9017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257810" marR="45720" indent="-201930">
              <a:lnSpc>
                <a:spcPct val="100000"/>
              </a:lnSpc>
            </a:pPr>
            <a:r>
              <a:rPr sz="1200" b="1" u="heavy" spc="-5" dirty="0">
                <a:latin typeface="Times New Roman"/>
                <a:cs typeface="Times New Roman"/>
              </a:rPr>
              <a:t>Material Master  </a:t>
            </a:r>
            <a:r>
              <a:rPr sz="1200" spc="-5" dirty="0">
                <a:latin typeface="Times New Roman"/>
                <a:cs typeface="Times New Roman"/>
              </a:rPr>
              <a:t>Basic </a:t>
            </a:r>
            <a:r>
              <a:rPr sz="1200" dirty="0">
                <a:latin typeface="Times New Roman"/>
                <a:cs typeface="Times New Roman"/>
              </a:rPr>
              <a:t>texts  </a:t>
            </a:r>
            <a:r>
              <a:rPr sz="1200" spc="-5" dirty="0">
                <a:latin typeface="Times New Roman"/>
                <a:cs typeface="Times New Roman"/>
              </a:rPr>
              <a:t>Sales</a:t>
            </a:r>
            <a:r>
              <a:rPr sz="1200" spc="-95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</a:t>
            </a:r>
          </a:p>
          <a:p>
            <a:pPr marL="341630">
              <a:lnSpc>
                <a:spcPts val="1375"/>
              </a:lnSpc>
            </a:pPr>
            <a:r>
              <a:rPr sz="1200" spc="-5" dirty="0">
                <a:latin typeface="Times New Roman"/>
                <a:cs typeface="Times New Roman"/>
              </a:rPr>
              <a:t>PO</a:t>
            </a:r>
            <a:r>
              <a:rPr sz="1200" spc="-150" dirty="0">
                <a:latin typeface="Times New Roman"/>
                <a:cs typeface="Times New Roman"/>
              </a:rPr>
              <a:t> </a:t>
            </a:r>
            <a:r>
              <a:rPr sz="1200" spc="-20" dirty="0">
                <a:latin typeface="Times New Roman"/>
                <a:cs typeface="Times New Roman"/>
              </a:rPr>
              <a:t>Text</a:t>
            </a:r>
            <a:endParaRPr sz="1200" dirty="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857500" y="2353373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815747" y="2530220"/>
            <a:ext cx="1241425" cy="548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200" b="1" spc="-5" dirty="0">
                <a:latin typeface="Times New Roman"/>
                <a:cs typeface="Times New Roman"/>
              </a:rPr>
              <a:t>Customer</a:t>
            </a:r>
            <a:r>
              <a:rPr sz="1200" b="1" spc="-90" dirty="0">
                <a:latin typeface="Times New Roman"/>
                <a:cs typeface="Times New Roman"/>
              </a:rPr>
              <a:t> </a:t>
            </a:r>
            <a:r>
              <a:rPr sz="1200" b="1" spc="-5" dirty="0">
                <a:latin typeface="Times New Roman"/>
                <a:cs typeface="Times New Roman"/>
              </a:rPr>
              <a:t>Material</a:t>
            </a:r>
            <a:endParaRPr sz="1200" dirty="0">
              <a:latin typeface="Times New Roman"/>
              <a:cs typeface="Times New Roman"/>
            </a:endParaRPr>
          </a:p>
          <a:p>
            <a:pPr marL="42545" algn="ctr">
              <a:lnSpc>
                <a:spcPct val="100000"/>
              </a:lnSpc>
            </a:pPr>
            <a:r>
              <a:rPr sz="1200" u="heavy" spc="-300" dirty="0">
                <a:latin typeface="Times New Roman"/>
                <a:cs typeface="Times New Roman"/>
              </a:rPr>
              <a:t> </a:t>
            </a:r>
            <a:r>
              <a:rPr sz="1200" b="1" u="heavy" dirty="0">
                <a:latin typeface="Times New Roman"/>
                <a:cs typeface="Times New Roman"/>
              </a:rPr>
              <a:t>info’</a:t>
            </a:r>
            <a:endParaRPr sz="1200" dirty="0">
              <a:latin typeface="Times New Roman"/>
              <a:cs typeface="Times New Roman"/>
            </a:endParaRPr>
          </a:p>
          <a:p>
            <a:pPr marL="41910" algn="ctr">
              <a:lnSpc>
                <a:spcPts val="1435"/>
              </a:lnSpc>
            </a:pPr>
            <a:r>
              <a:rPr sz="1200" spc="-10" dirty="0">
                <a:latin typeface="Times New Roman"/>
                <a:cs typeface="Times New Roman"/>
              </a:rPr>
              <a:t>Info </a:t>
            </a:r>
            <a:r>
              <a:rPr sz="1200" spc="-5" dirty="0">
                <a:latin typeface="Times New Roman"/>
                <a:cs typeface="Times New Roman"/>
              </a:rPr>
              <a:t>Record</a:t>
            </a:r>
            <a:r>
              <a:rPr sz="1200" spc="-40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6874651" y="1703334"/>
            <a:ext cx="2095500" cy="3810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3175" algn="ctr">
              <a:lnSpc>
                <a:spcPts val="2810"/>
              </a:lnSpc>
            </a:pPr>
            <a:r>
              <a:rPr sz="2400" dirty="0">
                <a:latin typeface="Times New Roman"/>
                <a:cs typeface="Times New Roman"/>
              </a:rPr>
              <a:t>Item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1412714" y="1703334"/>
            <a:ext cx="1245870" cy="304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390"/>
              </a:lnSpc>
            </a:pPr>
            <a:r>
              <a:rPr sz="2000" spc="-5" dirty="0">
                <a:latin typeface="Times New Roman"/>
                <a:cs typeface="Times New Roman"/>
              </a:rPr>
              <a:t>Master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Data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4477591" y="1669962"/>
            <a:ext cx="2133600" cy="3810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02615">
              <a:lnSpc>
                <a:spcPts val="2810"/>
              </a:lnSpc>
            </a:pPr>
            <a:r>
              <a:rPr sz="2400" dirty="0"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516254" y="2126942"/>
            <a:ext cx="2133600" cy="1066800"/>
          </a:xfrm>
          <a:custGeom>
            <a:avLst/>
            <a:gdLst/>
            <a:ahLst/>
            <a:cxnLst/>
            <a:rect l="l" t="t" r="r" b="b"/>
            <a:pathLst>
              <a:path w="2133600" h="1066800">
                <a:moveTo>
                  <a:pt x="0" y="1066800"/>
                </a:moveTo>
                <a:lnTo>
                  <a:pt x="2133600" y="1066800"/>
                </a:lnTo>
                <a:lnTo>
                  <a:pt x="21336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95800" y="2123723"/>
            <a:ext cx="2133600" cy="1066800"/>
          </a:xfrm>
          <a:custGeom>
            <a:avLst/>
            <a:gdLst/>
            <a:ahLst/>
            <a:cxnLst/>
            <a:rect l="l" t="t" r="r" b="b"/>
            <a:pathLst>
              <a:path w="2133600" h="1066800">
                <a:moveTo>
                  <a:pt x="0" y="1066800"/>
                </a:moveTo>
                <a:lnTo>
                  <a:pt x="2133600" y="1066800"/>
                </a:lnTo>
                <a:lnTo>
                  <a:pt x="21336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552100" y="2158745"/>
            <a:ext cx="1939289" cy="743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Header</a:t>
            </a:r>
            <a:r>
              <a:rPr sz="1600" spc="-90" dirty="0">
                <a:latin typeface="Times New Roman"/>
                <a:cs typeface="Times New Roman"/>
              </a:rPr>
              <a:t> </a:t>
            </a:r>
            <a:r>
              <a:rPr sz="1600" spc="-35" dirty="0">
                <a:latin typeface="Times New Roman"/>
                <a:cs typeface="Times New Roman"/>
              </a:rPr>
              <a:t>Text</a:t>
            </a:r>
            <a:endParaRPr sz="16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Header</a:t>
            </a:r>
            <a:r>
              <a:rPr sz="1600" spc="-55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notice</a:t>
            </a:r>
            <a:endParaRPr sz="16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Shipping</a:t>
            </a:r>
            <a:r>
              <a:rPr sz="1600" spc="-4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 dirty="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25435" y="2865077"/>
            <a:ext cx="2154555" cy="2559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Contractual</a:t>
            </a:r>
            <a:r>
              <a:rPr sz="1600" spc="-2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 dirty="0"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822654" y="2187355"/>
            <a:ext cx="2095500" cy="10668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85725">
              <a:lnSpc>
                <a:spcPts val="1820"/>
              </a:lnSpc>
            </a:pPr>
            <a:r>
              <a:rPr sz="1600" spc="-5" dirty="0">
                <a:latin typeface="Times New Roman"/>
                <a:cs typeface="Times New Roman"/>
              </a:rPr>
              <a:t>•Material Sales</a:t>
            </a:r>
            <a:r>
              <a:rPr sz="1600" spc="1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text</a:t>
            </a:r>
            <a:endParaRPr sz="1600" dirty="0">
              <a:latin typeface="Times New Roman"/>
              <a:cs typeface="Times New Roman"/>
            </a:endParaRPr>
          </a:p>
          <a:p>
            <a:pPr marL="85725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Packing</a:t>
            </a:r>
            <a:r>
              <a:rPr sz="1600" spc="-5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note</a:t>
            </a:r>
            <a:endParaRPr sz="1600" dirty="0">
              <a:latin typeface="Times New Roman"/>
              <a:cs typeface="Times New Roman"/>
            </a:endParaRPr>
          </a:p>
          <a:p>
            <a:pPr marL="85725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Shipping</a:t>
            </a:r>
            <a:r>
              <a:rPr sz="1600" spc="-4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 dirty="0"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498554" y="1166416"/>
            <a:ext cx="4419600" cy="396875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31115" rIns="0" bIns="0" rtlCol="0">
            <a:spAutoFit/>
          </a:bodyPr>
          <a:lstStyle/>
          <a:p>
            <a:pPr marL="347980">
              <a:lnSpc>
                <a:spcPct val="100000"/>
              </a:lnSpc>
              <a:spcBef>
                <a:spcPts val="245"/>
              </a:spcBef>
            </a:pPr>
            <a:r>
              <a:rPr sz="2000" dirty="0">
                <a:latin typeface="Times New Roman"/>
                <a:cs typeface="Times New Roman"/>
              </a:rPr>
              <a:t>Document (sales / delivery /</a:t>
            </a:r>
            <a:r>
              <a:rPr sz="2000" spc="-14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imes New Roman"/>
                <a:cs typeface="Times New Roman"/>
              </a:rPr>
              <a:t>Billing)</a:t>
            </a:r>
            <a:endParaRPr sz="2000" dirty="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33400" y="3879850"/>
            <a:ext cx="8050530" cy="2292350"/>
          </a:xfrm>
          <a:prstGeom prst="rect">
            <a:avLst/>
          </a:prstGeom>
          <a:solidFill>
            <a:srgbClr val="ADB5FB"/>
          </a:solidFill>
        </p:spPr>
        <p:txBody>
          <a:bodyPr vert="horz" wrap="square" lIns="0" tIns="44450" rIns="0" bIns="0" rtlCol="0">
            <a:spAutoFit/>
          </a:bodyPr>
          <a:lstStyle/>
          <a:p>
            <a:pPr marL="91440" marR="816610">
              <a:lnSpc>
                <a:spcPct val="100000"/>
              </a:lnSpc>
              <a:spcBef>
                <a:spcPts val="350"/>
              </a:spcBef>
              <a:buFont typeface="Arial"/>
              <a:buChar char="•"/>
              <a:tabLst>
                <a:tab pos="218440" algn="l"/>
              </a:tabLst>
            </a:pP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are proposed from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master records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ales and distribution  documents, if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15" dirty="0">
                <a:latin typeface="Arial"/>
                <a:cs typeface="Arial"/>
              </a:rPr>
              <a:t>have </a:t>
            </a:r>
            <a:r>
              <a:rPr sz="1600" b="1" spc="-5" dirty="0">
                <a:latin typeface="Arial"/>
                <a:cs typeface="Arial"/>
              </a:rPr>
              <a:t>mad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ppropriate</a:t>
            </a:r>
            <a:r>
              <a:rPr sz="1600" b="1" spc="2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tting.</a:t>
            </a:r>
            <a:endParaRPr sz="1600">
              <a:latin typeface="Arial"/>
              <a:cs typeface="Arial"/>
            </a:endParaRPr>
          </a:p>
          <a:p>
            <a:pPr marL="214629" indent="-123189">
              <a:lnSpc>
                <a:spcPct val="100000"/>
              </a:lnSpc>
              <a:buFont typeface="Arial"/>
              <a:buChar char="•"/>
              <a:tabLst>
                <a:tab pos="215265" algn="l"/>
              </a:tabLst>
            </a:pPr>
            <a:r>
              <a:rPr sz="1600" b="1" spc="-45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an integrate standard texts into the sales and distribution</a:t>
            </a:r>
            <a:r>
              <a:rPr sz="1600" b="1" spc="2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uments.</a:t>
            </a:r>
            <a:endParaRPr sz="1600">
              <a:latin typeface="Arial"/>
              <a:cs typeface="Arial"/>
            </a:endParaRPr>
          </a:p>
          <a:p>
            <a:pPr marL="91440" marR="269240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can be copied from a reference sales and distribution document into  another sales and distribution document (e.g. from an inquiry into a sales order  or from an order into a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livery).</a:t>
            </a:r>
            <a:endParaRPr sz="1600">
              <a:latin typeface="Arial"/>
              <a:cs typeface="Arial"/>
            </a:endParaRPr>
          </a:p>
          <a:p>
            <a:pPr marL="217804" indent="-126364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10" dirty="0">
                <a:latin typeface="Arial"/>
                <a:cs typeface="Arial"/>
              </a:rPr>
              <a:t>The copying </a:t>
            </a:r>
            <a:r>
              <a:rPr sz="1600" b="1" spc="-5" dirty="0">
                <a:latin typeface="Arial"/>
                <a:cs typeface="Arial"/>
              </a:rPr>
              <a:t>of texts can be made language </a:t>
            </a:r>
            <a:r>
              <a:rPr sz="1600" b="1" spc="-10" dirty="0">
                <a:latin typeface="Arial"/>
                <a:cs typeface="Arial"/>
              </a:rPr>
              <a:t>dependent, </a:t>
            </a:r>
            <a:r>
              <a:rPr sz="1600" b="1" spc="-5" dirty="0">
                <a:latin typeface="Arial"/>
                <a:cs typeface="Arial"/>
              </a:rPr>
              <a:t>if</a:t>
            </a:r>
            <a:r>
              <a:rPr sz="1600" b="1" spc="254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required.</a:t>
            </a:r>
            <a:endParaRPr sz="1600">
              <a:latin typeface="Arial"/>
              <a:cs typeface="Arial"/>
            </a:endParaRPr>
          </a:p>
          <a:p>
            <a:pPr marL="217804" indent="-126364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45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an change copied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exts</a:t>
            </a:r>
            <a:endParaRPr sz="1600">
              <a:latin typeface="Arial"/>
              <a:cs typeface="Arial"/>
            </a:endParaRPr>
          </a:p>
          <a:p>
            <a:pPr marL="217804" indent="-126364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600" b="1" spc="-5" dirty="0">
                <a:latin typeface="Arial"/>
                <a:cs typeface="Arial"/>
              </a:rPr>
              <a:t>In a Sales Document </a:t>
            </a: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can be maintained as Header or Item</a:t>
            </a:r>
            <a:r>
              <a:rPr sz="1600" b="1" spc="220" dirty="0">
                <a:latin typeface="Arial"/>
                <a:cs typeface="Arial"/>
              </a:rPr>
              <a:t> </a:t>
            </a:r>
            <a:r>
              <a:rPr sz="1600" b="1" spc="-35" dirty="0">
                <a:latin typeface="Arial"/>
                <a:cs typeface="Arial"/>
              </a:rPr>
              <a:t>Text</a:t>
            </a:r>
            <a:endParaRPr sz="16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970923" y="3256845"/>
            <a:ext cx="830514" cy="685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2491739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</a:t>
            </a:r>
            <a:r>
              <a:rPr spc="-90" dirty="0"/>
              <a:t> </a:t>
            </a:r>
            <a:r>
              <a:rPr dirty="0"/>
              <a:t>Output</a:t>
            </a:r>
          </a:p>
        </p:txBody>
      </p:sp>
      <p:sp>
        <p:nvSpPr>
          <p:cNvPr id="8" name="object 8"/>
          <p:cNvSpPr/>
          <p:nvPr/>
        </p:nvSpPr>
        <p:spPr>
          <a:xfrm>
            <a:off x="583962" y="3224579"/>
            <a:ext cx="8050530" cy="2862580"/>
          </a:xfrm>
          <a:custGeom>
            <a:avLst/>
            <a:gdLst/>
            <a:ahLst/>
            <a:cxnLst/>
            <a:rect l="l" t="t" r="r" b="b"/>
            <a:pathLst>
              <a:path w="8050530" h="2862579">
                <a:moveTo>
                  <a:pt x="0" y="2862199"/>
                </a:moveTo>
                <a:lnTo>
                  <a:pt x="8050276" y="2862199"/>
                </a:lnTo>
                <a:lnTo>
                  <a:pt x="8050276" y="0"/>
                </a:lnTo>
                <a:lnTo>
                  <a:pt x="0" y="0"/>
                </a:lnTo>
                <a:lnTo>
                  <a:pt x="0" y="2862199"/>
                </a:lnTo>
                <a:close/>
              </a:path>
            </a:pathLst>
          </a:custGeom>
          <a:solidFill>
            <a:srgbClr val="ADB5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60149" y="3229644"/>
            <a:ext cx="7840980" cy="2753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5244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dirty="0">
                <a:latin typeface="Arial"/>
                <a:cs typeface="Arial"/>
              </a:rPr>
              <a:t>Output </a:t>
            </a:r>
            <a:r>
              <a:rPr sz="1800" b="1" spc="-5" dirty="0">
                <a:latin typeface="Arial"/>
                <a:cs typeface="Arial"/>
              </a:rPr>
              <a:t>types are used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represent </a:t>
            </a:r>
            <a:r>
              <a:rPr sz="1800" b="1" spc="-10" dirty="0">
                <a:latin typeface="Arial"/>
                <a:cs typeface="Arial"/>
              </a:rPr>
              <a:t>various </a:t>
            </a:r>
            <a:r>
              <a:rPr sz="1800" b="1" spc="-5" dirty="0">
                <a:latin typeface="Arial"/>
                <a:cs typeface="Arial"/>
              </a:rPr>
              <a:t>forms </a:t>
            </a:r>
            <a:r>
              <a:rPr sz="1800" b="1" dirty="0">
                <a:latin typeface="Arial"/>
                <a:cs typeface="Arial"/>
              </a:rPr>
              <a:t>of output in the </a:t>
            </a:r>
            <a:r>
              <a:rPr sz="1800" b="1" spc="-20" dirty="0">
                <a:latin typeface="Arial"/>
                <a:cs typeface="Arial"/>
              </a:rPr>
              <a:t>SAP  </a:t>
            </a:r>
            <a:r>
              <a:rPr sz="1800" b="1" spc="-10" dirty="0">
                <a:latin typeface="Arial"/>
                <a:cs typeface="Arial"/>
              </a:rPr>
              <a:t>system. </a:t>
            </a:r>
            <a:r>
              <a:rPr sz="1800" b="1" spc="-5" dirty="0">
                <a:latin typeface="Arial"/>
                <a:cs typeface="Arial"/>
              </a:rPr>
              <a:t>Examples </a:t>
            </a:r>
            <a:r>
              <a:rPr sz="1800" b="1" dirty="0">
                <a:latin typeface="Arial"/>
                <a:cs typeface="Arial"/>
              </a:rPr>
              <a:t>of output </a:t>
            </a:r>
            <a:r>
              <a:rPr sz="1800" b="1" spc="-5" dirty="0">
                <a:latin typeface="Arial"/>
                <a:cs typeface="Arial"/>
              </a:rPr>
              <a:t>types </a:t>
            </a:r>
            <a:r>
              <a:rPr sz="1800" b="1" dirty="0">
                <a:latin typeface="Arial"/>
                <a:cs typeface="Arial"/>
              </a:rPr>
              <a:t>in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and Distribution </a:t>
            </a:r>
            <a:r>
              <a:rPr sz="1800" b="1" spc="-5" dirty="0">
                <a:latin typeface="Arial"/>
                <a:cs typeface="Arial"/>
              </a:rPr>
              <a:t>processing  are order </a:t>
            </a:r>
            <a:r>
              <a:rPr sz="1800" b="1" dirty="0">
                <a:latin typeface="Arial"/>
                <a:cs typeface="Arial"/>
              </a:rPr>
              <a:t>confirmations, pick </a:t>
            </a:r>
            <a:r>
              <a:rPr sz="1800" b="1" spc="-5" dirty="0">
                <a:latin typeface="Arial"/>
                <a:cs typeface="Arial"/>
              </a:rPr>
              <a:t>lists, packing </a:t>
            </a:r>
            <a:r>
              <a:rPr sz="1800" b="1" dirty="0">
                <a:latin typeface="Arial"/>
                <a:cs typeface="Arial"/>
              </a:rPr>
              <a:t>slips, and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invoices.</a:t>
            </a:r>
            <a:endParaRPr sz="1800" dirty="0">
              <a:latin typeface="Arial"/>
              <a:cs typeface="Arial"/>
            </a:endParaRPr>
          </a:p>
          <a:p>
            <a:pPr marL="12700" marR="677545">
              <a:lnSpc>
                <a:spcPts val="2160"/>
              </a:lnSpc>
              <a:spcBef>
                <a:spcPts val="70"/>
              </a:spcBef>
              <a:buFont typeface="Arial"/>
              <a:buChar char="•"/>
              <a:tabLst>
                <a:tab pos="149860" algn="l"/>
                <a:tab pos="4684395" algn="l"/>
              </a:tabLst>
            </a:pPr>
            <a:r>
              <a:rPr sz="1800" b="1" spc="-45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can also choose </a:t>
            </a:r>
            <a:r>
              <a:rPr sz="1800" b="1" i="1" spc="-5" dirty="0">
                <a:latin typeface="Arial"/>
                <a:cs typeface="Arial"/>
              </a:rPr>
              <a:t>Extras </a:t>
            </a:r>
            <a:r>
              <a:rPr sz="1900" b="1" i="1" spc="-100" dirty="0">
                <a:latin typeface="Wingdings"/>
                <a:cs typeface="Wingdings"/>
              </a:rPr>
              <a:t></a:t>
            </a:r>
            <a:r>
              <a:rPr sz="1900" b="1" i="1" spc="150" dirty="0">
                <a:latin typeface="Times New Roman"/>
                <a:cs typeface="Times New Roman"/>
              </a:rPr>
              <a:t> </a:t>
            </a:r>
            <a:r>
              <a:rPr sz="1800" b="1" i="1" dirty="0">
                <a:latin typeface="Arial"/>
                <a:cs typeface="Arial"/>
              </a:rPr>
              <a:t>Output</a:t>
            </a:r>
            <a:r>
              <a:rPr sz="1800" b="1" i="1" spc="-15" dirty="0">
                <a:latin typeface="Arial"/>
                <a:cs typeface="Arial"/>
              </a:rPr>
              <a:t> </a:t>
            </a:r>
            <a:r>
              <a:rPr sz="1900" b="1" i="1" spc="-100" dirty="0">
                <a:latin typeface="Wingdings"/>
                <a:cs typeface="Wingdings"/>
              </a:rPr>
              <a:t></a:t>
            </a:r>
            <a:r>
              <a:rPr sz="1900" spc="-100" dirty="0">
                <a:latin typeface="Times New Roman"/>
                <a:cs typeface="Times New Roman"/>
              </a:rPr>
              <a:t>	</a:t>
            </a:r>
            <a:r>
              <a:rPr sz="1800" b="1" i="1" spc="-5" dirty="0">
                <a:latin typeface="Arial"/>
                <a:cs typeface="Arial"/>
              </a:rPr>
              <a:t>Header </a:t>
            </a:r>
            <a:r>
              <a:rPr sz="1800" b="1" spc="-5" dirty="0">
                <a:latin typeface="Arial"/>
                <a:cs typeface="Arial"/>
              </a:rPr>
              <a:t>or </a:t>
            </a:r>
            <a:r>
              <a:rPr sz="1800" b="1" i="1" spc="-5" dirty="0">
                <a:latin typeface="Arial"/>
                <a:cs typeface="Arial"/>
              </a:rPr>
              <a:t>Item</a:t>
            </a:r>
            <a:r>
              <a:rPr sz="1800" b="1" i="1" spc="-45" dirty="0">
                <a:latin typeface="Arial"/>
                <a:cs typeface="Arial"/>
              </a:rPr>
              <a:t> </a:t>
            </a:r>
            <a:r>
              <a:rPr sz="1900" b="1" i="1" spc="-100" dirty="0">
                <a:latin typeface="Wingdings"/>
                <a:cs typeface="Wingdings"/>
              </a:rPr>
              <a:t></a:t>
            </a:r>
            <a:r>
              <a:rPr sz="1900" b="1" i="1" dirty="0">
                <a:latin typeface="Times New Roman"/>
                <a:cs typeface="Times New Roman"/>
              </a:rPr>
              <a:t> </a:t>
            </a:r>
            <a:r>
              <a:rPr sz="1800" b="1" i="1" dirty="0">
                <a:latin typeface="Arial"/>
                <a:cs typeface="Arial"/>
              </a:rPr>
              <a:t>Print  </a:t>
            </a:r>
            <a:r>
              <a:rPr sz="1800" b="1" i="1" spc="-5" dirty="0">
                <a:latin typeface="Arial"/>
                <a:cs typeface="Arial"/>
              </a:rPr>
              <a:t>Preview </a:t>
            </a:r>
            <a:r>
              <a:rPr sz="1800" b="1" dirty="0">
                <a:latin typeface="Arial"/>
                <a:cs typeface="Arial"/>
              </a:rPr>
              <a:t>on the </a:t>
            </a:r>
            <a:r>
              <a:rPr sz="1800" b="1" spc="-10" dirty="0">
                <a:latin typeface="Arial"/>
                <a:cs typeface="Arial"/>
              </a:rPr>
              <a:t>overview </a:t>
            </a:r>
            <a:r>
              <a:rPr sz="1800" b="1" spc="-5" dirty="0">
                <a:latin typeface="Arial"/>
                <a:cs typeface="Arial"/>
              </a:rPr>
              <a:t>screen </a:t>
            </a:r>
            <a:r>
              <a:rPr sz="1800" b="1" dirty="0">
                <a:latin typeface="Arial"/>
                <a:cs typeface="Arial"/>
              </a:rPr>
              <a:t>of the </a:t>
            </a:r>
            <a:r>
              <a:rPr sz="1800" b="1" spc="-5" dirty="0">
                <a:latin typeface="Arial"/>
                <a:cs typeface="Arial"/>
              </a:rPr>
              <a:t>sales</a:t>
            </a:r>
            <a:r>
              <a:rPr sz="1800" b="1" spc="6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ocument.</a:t>
            </a:r>
            <a:endParaRPr sz="1800" dirty="0">
              <a:latin typeface="Arial"/>
              <a:cs typeface="Arial"/>
            </a:endParaRPr>
          </a:p>
          <a:p>
            <a:pPr marL="12700" marR="5080">
              <a:lnSpc>
                <a:spcPts val="2160"/>
              </a:lnSpc>
              <a:buFont typeface="Arial"/>
              <a:buChar char="•"/>
              <a:tabLst>
                <a:tab pos="149860" algn="l"/>
              </a:tabLst>
            </a:pPr>
            <a:r>
              <a:rPr sz="1800" b="1" spc="-45" dirty="0">
                <a:latin typeface="Arial"/>
                <a:cs typeface="Arial"/>
              </a:rPr>
              <a:t>You </a:t>
            </a:r>
            <a:r>
              <a:rPr sz="1800" b="1" spc="-10" dirty="0">
                <a:latin typeface="Arial"/>
                <a:cs typeface="Arial"/>
              </a:rPr>
              <a:t>can </a:t>
            </a:r>
            <a:r>
              <a:rPr sz="1800" b="1" spc="-5" dirty="0">
                <a:latin typeface="Arial"/>
                <a:cs typeface="Arial"/>
              </a:rPr>
              <a:t>send </a:t>
            </a:r>
            <a:r>
              <a:rPr sz="1800" b="1" dirty="0">
                <a:latin typeface="Arial"/>
                <a:cs typeface="Arial"/>
              </a:rPr>
              <a:t>output </a:t>
            </a:r>
            <a:r>
              <a:rPr sz="1800" b="1" spc="-5" dirty="0">
                <a:latin typeface="Arial"/>
                <a:cs typeface="Arial"/>
              </a:rPr>
              <a:t>documents more than once. </a:t>
            </a:r>
            <a:r>
              <a:rPr sz="1800" b="1" dirty="0">
                <a:latin typeface="Arial"/>
                <a:cs typeface="Arial"/>
              </a:rPr>
              <a:t>This </a:t>
            </a:r>
            <a:r>
              <a:rPr sz="1800" b="1" spc="-10" dirty="0">
                <a:latin typeface="Arial"/>
                <a:cs typeface="Arial"/>
              </a:rPr>
              <a:t>can </a:t>
            </a:r>
            <a:r>
              <a:rPr sz="1800" b="1" dirty="0">
                <a:latin typeface="Arial"/>
                <a:cs typeface="Arial"/>
              </a:rPr>
              <a:t>be </a:t>
            </a:r>
            <a:r>
              <a:rPr sz="1800" b="1" spc="-5" dirty="0">
                <a:latin typeface="Arial"/>
                <a:cs typeface="Arial"/>
              </a:rPr>
              <a:t>useful </a:t>
            </a:r>
            <a:r>
              <a:rPr sz="1800" b="1" dirty="0">
                <a:latin typeface="Arial"/>
                <a:cs typeface="Arial"/>
              </a:rPr>
              <a:t>if,  </a:t>
            </a:r>
            <a:r>
              <a:rPr sz="1800" b="1" spc="-5" dirty="0">
                <a:latin typeface="Arial"/>
                <a:cs typeface="Arial"/>
              </a:rPr>
              <a:t>for example, there are technical or </a:t>
            </a:r>
            <a:r>
              <a:rPr sz="1800" b="1" dirty="0">
                <a:latin typeface="Arial"/>
                <a:cs typeface="Arial"/>
              </a:rPr>
              <a:t>other </a:t>
            </a:r>
            <a:r>
              <a:rPr sz="1800" b="1" spc="-5" dirty="0">
                <a:latin typeface="Arial"/>
                <a:cs typeface="Arial"/>
              </a:rPr>
              <a:t>problems </a:t>
            </a:r>
            <a:r>
              <a:rPr sz="1800" b="1" spc="5" dirty="0">
                <a:latin typeface="Arial"/>
                <a:cs typeface="Arial"/>
              </a:rPr>
              <a:t>when </a:t>
            </a:r>
            <a:r>
              <a:rPr sz="1800" b="1" spc="-10" dirty="0">
                <a:latin typeface="Arial"/>
                <a:cs typeface="Arial"/>
              </a:rPr>
              <a:t>you </a:t>
            </a:r>
            <a:r>
              <a:rPr sz="1800" b="1" dirty="0">
                <a:latin typeface="Arial"/>
                <a:cs typeface="Arial"/>
              </a:rPr>
              <a:t>print </a:t>
            </a:r>
            <a:r>
              <a:rPr sz="1800" b="1" spc="-10" dirty="0">
                <a:latin typeface="Arial"/>
                <a:cs typeface="Arial"/>
              </a:rPr>
              <a:t>an  </a:t>
            </a:r>
            <a:r>
              <a:rPr sz="1800" b="1" dirty="0">
                <a:latin typeface="Arial"/>
                <a:cs typeface="Arial"/>
              </a:rPr>
              <a:t>output </a:t>
            </a:r>
            <a:r>
              <a:rPr sz="1800" b="1" spc="-5" dirty="0">
                <a:latin typeface="Arial"/>
                <a:cs typeface="Arial"/>
              </a:rPr>
              <a:t>document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first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time.</a:t>
            </a:r>
            <a:endParaRPr sz="1800" dirty="0">
              <a:latin typeface="Arial"/>
              <a:cs typeface="Arial"/>
            </a:endParaRPr>
          </a:p>
          <a:p>
            <a:pPr marL="12700" marR="33020">
              <a:lnSpc>
                <a:spcPts val="216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dirty="0">
                <a:latin typeface="Arial"/>
                <a:cs typeface="Arial"/>
              </a:rPr>
              <a:t>Outputs </a:t>
            </a:r>
            <a:r>
              <a:rPr sz="1800" b="1" spc="-5" dirty="0">
                <a:latin typeface="Arial"/>
                <a:cs typeface="Arial"/>
              </a:rPr>
              <a:t>can be </a:t>
            </a:r>
            <a:r>
              <a:rPr sz="1800" b="1" dirty="0">
                <a:latin typeface="Arial"/>
                <a:cs typeface="Arial"/>
              </a:rPr>
              <a:t>produced using </a:t>
            </a:r>
            <a:r>
              <a:rPr sz="1800" b="1" spc="-5" dirty="0">
                <a:latin typeface="Arial"/>
                <a:cs typeface="Arial"/>
              </a:rPr>
              <a:t>different media – </a:t>
            </a:r>
            <a:r>
              <a:rPr sz="1800" b="1" dirty="0">
                <a:latin typeface="Arial"/>
                <a:cs typeface="Arial"/>
              </a:rPr>
              <a:t>print, </a:t>
            </a:r>
            <a:r>
              <a:rPr sz="1800" b="1" spc="-5" dirty="0">
                <a:latin typeface="Arial"/>
                <a:cs typeface="Arial"/>
              </a:rPr>
              <a:t>fax, email, </a:t>
            </a:r>
            <a:r>
              <a:rPr sz="1800" b="1" dirty="0">
                <a:latin typeface="Arial"/>
                <a:cs typeface="Arial"/>
              </a:rPr>
              <a:t>EDI,  </a:t>
            </a:r>
            <a:r>
              <a:rPr sz="1800" b="1" spc="-5" dirty="0">
                <a:latin typeface="Arial"/>
                <a:cs typeface="Arial"/>
              </a:rPr>
              <a:t>etc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376239" y="1480075"/>
            <a:ext cx="51435" cy="0"/>
          </a:xfrm>
          <a:custGeom>
            <a:avLst/>
            <a:gdLst/>
            <a:ahLst/>
            <a:cxnLst/>
            <a:rect l="l" t="t" r="r" b="b"/>
            <a:pathLst>
              <a:path w="51435">
                <a:moveTo>
                  <a:pt x="0" y="0"/>
                </a:moveTo>
                <a:lnTo>
                  <a:pt x="51325" y="0"/>
                </a:lnTo>
              </a:path>
            </a:pathLst>
          </a:custGeom>
          <a:ln w="57023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376239" y="1451547"/>
            <a:ext cx="51435" cy="57150"/>
          </a:xfrm>
          <a:custGeom>
            <a:avLst/>
            <a:gdLst/>
            <a:ahLst/>
            <a:cxnLst/>
            <a:rect l="l" t="t" r="r" b="b"/>
            <a:pathLst>
              <a:path w="51435" h="57150">
                <a:moveTo>
                  <a:pt x="0" y="0"/>
                </a:moveTo>
                <a:lnTo>
                  <a:pt x="51325" y="0"/>
                </a:lnTo>
                <a:lnTo>
                  <a:pt x="51325" y="57040"/>
                </a:lnTo>
                <a:lnTo>
                  <a:pt x="0" y="57040"/>
                </a:lnTo>
                <a:lnTo>
                  <a:pt x="0" y="0"/>
                </a:lnTo>
              </a:path>
            </a:pathLst>
          </a:custGeom>
          <a:ln w="2781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386119" y="1463778"/>
            <a:ext cx="24130" cy="18415"/>
          </a:xfrm>
          <a:custGeom>
            <a:avLst/>
            <a:gdLst/>
            <a:ahLst/>
            <a:cxnLst/>
            <a:rect l="l" t="t" r="r" b="b"/>
            <a:pathLst>
              <a:path w="24129" h="18415">
                <a:moveTo>
                  <a:pt x="23695" y="0"/>
                </a:moveTo>
                <a:lnTo>
                  <a:pt x="0" y="0"/>
                </a:lnTo>
                <a:lnTo>
                  <a:pt x="11833" y="18318"/>
                </a:lnTo>
                <a:lnTo>
                  <a:pt x="236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42366" y="1394517"/>
            <a:ext cx="0" cy="73660"/>
          </a:xfrm>
          <a:custGeom>
            <a:avLst/>
            <a:gdLst/>
            <a:ahLst/>
            <a:cxnLst/>
            <a:rect l="l" t="t" r="r" b="b"/>
            <a:pathLst>
              <a:path h="73659">
                <a:moveTo>
                  <a:pt x="0" y="0"/>
                </a:moveTo>
                <a:lnTo>
                  <a:pt x="0" y="73318"/>
                </a:lnTo>
              </a:path>
            </a:pathLst>
          </a:custGeom>
          <a:ln w="6119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411768" y="1394534"/>
            <a:ext cx="61594" cy="73660"/>
          </a:xfrm>
          <a:custGeom>
            <a:avLst/>
            <a:gdLst/>
            <a:ahLst/>
            <a:cxnLst/>
            <a:rect l="l" t="t" r="r" b="b"/>
            <a:pathLst>
              <a:path w="61595" h="73659">
                <a:moveTo>
                  <a:pt x="0" y="0"/>
                </a:moveTo>
                <a:lnTo>
                  <a:pt x="61205" y="0"/>
                </a:lnTo>
                <a:lnTo>
                  <a:pt x="61205" y="73301"/>
                </a:lnTo>
                <a:lnTo>
                  <a:pt x="0" y="73301"/>
                </a:lnTo>
                <a:lnTo>
                  <a:pt x="0" y="0"/>
                </a:lnTo>
              </a:path>
            </a:pathLst>
          </a:custGeom>
          <a:ln w="277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419667" y="1410824"/>
            <a:ext cx="31750" cy="24765"/>
          </a:xfrm>
          <a:custGeom>
            <a:avLst/>
            <a:gdLst/>
            <a:ahLst/>
            <a:cxnLst/>
            <a:rect l="l" t="t" r="r" b="b"/>
            <a:pathLst>
              <a:path w="31750" h="24765">
                <a:moveTo>
                  <a:pt x="0" y="0"/>
                </a:moveTo>
                <a:lnTo>
                  <a:pt x="17778" y="24433"/>
                </a:lnTo>
                <a:lnTo>
                  <a:pt x="31593" y="202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192649" y="1515716"/>
            <a:ext cx="260985" cy="0"/>
          </a:xfrm>
          <a:custGeom>
            <a:avLst/>
            <a:gdLst/>
            <a:ahLst/>
            <a:cxnLst/>
            <a:rect l="l" t="t" r="r" b="b"/>
            <a:pathLst>
              <a:path w="260985">
                <a:moveTo>
                  <a:pt x="0" y="0"/>
                </a:moveTo>
                <a:lnTo>
                  <a:pt x="260575" y="0"/>
                </a:lnTo>
              </a:path>
            </a:pathLst>
          </a:custGeom>
          <a:ln w="46841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192649" y="1492298"/>
            <a:ext cx="260985" cy="46990"/>
          </a:xfrm>
          <a:custGeom>
            <a:avLst/>
            <a:gdLst/>
            <a:ahLst/>
            <a:cxnLst/>
            <a:rect l="l" t="t" r="r" b="b"/>
            <a:pathLst>
              <a:path w="260985" h="46990">
                <a:moveTo>
                  <a:pt x="0" y="0"/>
                </a:moveTo>
                <a:lnTo>
                  <a:pt x="260592" y="0"/>
                </a:lnTo>
                <a:lnTo>
                  <a:pt x="260592" y="46838"/>
                </a:lnTo>
                <a:lnTo>
                  <a:pt x="0" y="46838"/>
                </a:lnTo>
                <a:lnTo>
                  <a:pt x="0" y="0"/>
                </a:lnTo>
              </a:path>
            </a:pathLst>
          </a:custGeom>
          <a:ln w="2816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328027" y="2378200"/>
            <a:ext cx="2762250" cy="919480"/>
          </a:xfrm>
          <a:custGeom>
            <a:avLst/>
            <a:gdLst/>
            <a:ahLst/>
            <a:cxnLst/>
            <a:rect l="l" t="t" r="r" b="b"/>
            <a:pathLst>
              <a:path w="2762250" h="919479">
                <a:moveTo>
                  <a:pt x="0" y="0"/>
                </a:moveTo>
                <a:lnTo>
                  <a:pt x="517202" y="604870"/>
                </a:lnTo>
                <a:lnTo>
                  <a:pt x="728422" y="810568"/>
                </a:lnTo>
                <a:lnTo>
                  <a:pt x="1231801" y="810568"/>
                </a:lnTo>
                <a:lnTo>
                  <a:pt x="1417236" y="919100"/>
                </a:lnTo>
                <a:lnTo>
                  <a:pt x="2530424" y="919100"/>
                </a:lnTo>
                <a:lnTo>
                  <a:pt x="2586006" y="918509"/>
                </a:lnTo>
                <a:lnTo>
                  <a:pt x="2410314" y="786132"/>
                </a:lnTo>
                <a:lnTo>
                  <a:pt x="2716316" y="773912"/>
                </a:lnTo>
                <a:lnTo>
                  <a:pt x="2761725" y="676154"/>
                </a:lnTo>
                <a:lnTo>
                  <a:pt x="2726223" y="543772"/>
                </a:lnTo>
                <a:lnTo>
                  <a:pt x="1883240" y="12231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318155" y="2294697"/>
            <a:ext cx="622300" cy="772160"/>
          </a:xfrm>
          <a:custGeom>
            <a:avLst/>
            <a:gdLst/>
            <a:ahLst/>
            <a:cxnLst/>
            <a:rect l="l" t="t" r="r" b="b"/>
            <a:pathLst>
              <a:path w="622300" h="772160">
                <a:moveTo>
                  <a:pt x="0" y="0"/>
                </a:moveTo>
                <a:lnTo>
                  <a:pt x="0" y="207729"/>
                </a:lnTo>
                <a:lnTo>
                  <a:pt x="609993" y="771877"/>
                </a:lnTo>
                <a:lnTo>
                  <a:pt x="621827" y="549887"/>
                </a:lnTo>
                <a:lnTo>
                  <a:pt x="0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318155" y="2294697"/>
            <a:ext cx="622300" cy="772160"/>
          </a:xfrm>
          <a:custGeom>
            <a:avLst/>
            <a:gdLst/>
            <a:ahLst/>
            <a:cxnLst/>
            <a:rect l="l" t="t" r="r" b="b"/>
            <a:pathLst>
              <a:path w="622300" h="772160">
                <a:moveTo>
                  <a:pt x="621827" y="549887"/>
                </a:moveTo>
                <a:lnTo>
                  <a:pt x="609993" y="771877"/>
                </a:lnTo>
                <a:lnTo>
                  <a:pt x="0" y="207729"/>
                </a:lnTo>
                <a:lnTo>
                  <a:pt x="0" y="0"/>
                </a:lnTo>
                <a:lnTo>
                  <a:pt x="621827" y="549887"/>
                </a:lnTo>
              </a:path>
            </a:pathLst>
          </a:custGeom>
          <a:ln w="2778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928149" y="2889394"/>
            <a:ext cx="1778635" cy="181610"/>
          </a:xfrm>
          <a:custGeom>
            <a:avLst/>
            <a:gdLst/>
            <a:ahLst/>
            <a:cxnLst/>
            <a:rect l="l" t="t" r="r" b="b"/>
            <a:pathLst>
              <a:path w="1778635" h="181610">
                <a:moveTo>
                  <a:pt x="0" y="181252"/>
                </a:moveTo>
                <a:lnTo>
                  <a:pt x="1778627" y="181252"/>
                </a:lnTo>
                <a:lnTo>
                  <a:pt x="1778627" y="0"/>
                </a:lnTo>
                <a:lnTo>
                  <a:pt x="0" y="0"/>
                </a:lnTo>
                <a:lnTo>
                  <a:pt x="0" y="18125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928149" y="2826266"/>
            <a:ext cx="1778635" cy="244475"/>
          </a:xfrm>
          <a:custGeom>
            <a:avLst/>
            <a:gdLst/>
            <a:ahLst/>
            <a:cxnLst/>
            <a:rect l="l" t="t" r="r" b="b"/>
            <a:pathLst>
              <a:path w="1778635" h="244475">
                <a:moveTo>
                  <a:pt x="0" y="0"/>
                </a:moveTo>
                <a:lnTo>
                  <a:pt x="1778599" y="0"/>
                </a:lnTo>
                <a:lnTo>
                  <a:pt x="1778599" y="244380"/>
                </a:lnTo>
                <a:lnTo>
                  <a:pt x="0" y="244380"/>
                </a:lnTo>
                <a:lnTo>
                  <a:pt x="0" y="0"/>
                </a:lnTo>
              </a:path>
            </a:pathLst>
          </a:custGeom>
          <a:ln w="2816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294468" y="1706143"/>
            <a:ext cx="610235" cy="1179195"/>
          </a:xfrm>
          <a:custGeom>
            <a:avLst/>
            <a:gdLst/>
            <a:ahLst/>
            <a:cxnLst/>
            <a:rect l="l" t="t" r="r" b="b"/>
            <a:pathLst>
              <a:path w="610235" h="1179195">
                <a:moveTo>
                  <a:pt x="0" y="0"/>
                </a:moveTo>
                <a:lnTo>
                  <a:pt x="0" y="647623"/>
                </a:lnTo>
                <a:lnTo>
                  <a:pt x="609985" y="1179164"/>
                </a:lnTo>
                <a:lnTo>
                  <a:pt x="609985" y="49690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294468" y="1706143"/>
            <a:ext cx="610235" cy="1179195"/>
          </a:xfrm>
          <a:custGeom>
            <a:avLst/>
            <a:gdLst/>
            <a:ahLst/>
            <a:cxnLst/>
            <a:rect l="l" t="t" r="r" b="b"/>
            <a:pathLst>
              <a:path w="610235" h="1179195">
                <a:moveTo>
                  <a:pt x="609985" y="1179164"/>
                </a:moveTo>
                <a:lnTo>
                  <a:pt x="0" y="647623"/>
                </a:lnTo>
                <a:lnTo>
                  <a:pt x="0" y="0"/>
                </a:lnTo>
                <a:lnTo>
                  <a:pt x="609985" y="496905"/>
                </a:lnTo>
                <a:lnTo>
                  <a:pt x="609985" y="1179164"/>
                </a:lnTo>
              </a:path>
            </a:pathLst>
          </a:custGeom>
          <a:ln w="2766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904454" y="2203049"/>
            <a:ext cx="1849755" cy="686435"/>
          </a:xfrm>
          <a:custGeom>
            <a:avLst/>
            <a:gdLst/>
            <a:ahLst/>
            <a:cxnLst/>
            <a:rect l="l" t="t" r="r" b="b"/>
            <a:pathLst>
              <a:path w="1849754" h="686435">
                <a:moveTo>
                  <a:pt x="0" y="686345"/>
                </a:moveTo>
                <a:lnTo>
                  <a:pt x="1849685" y="686345"/>
                </a:lnTo>
                <a:lnTo>
                  <a:pt x="1849685" y="0"/>
                </a:lnTo>
                <a:lnTo>
                  <a:pt x="0" y="0"/>
                </a:lnTo>
                <a:lnTo>
                  <a:pt x="0" y="68634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904454" y="2203049"/>
            <a:ext cx="1849755" cy="686435"/>
          </a:xfrm>
          <a:custGeom>
            <a:avLst/>
            <a:gdLst/>
            <a:ahLst/>
            <a:cxnLst/>
            <a:rect l="l" t="t" r="r" b="b"/>
            <a:pathLst>
              <a:path w="1849754" h="686435">
                <a:moveTo>
                  <a:pt x="0" y="0"/>
                </a:moveTo>
                <a:lnTo>
                  <a:pt x="1849685" y="0"/>
                </a:lnTo>
                <a:lnTo>
                  <a:pt x="1849685" y="686345"/>
                </a:lnTo>
                <a:lnTo>
                  <a:pt x="0" y="686345"/>
                </a:lnTo>
                <a:lnTo>
                  <a:pt x="0" y="0"/>
                </a:lnTo>
              </a:path>
            </a:pathLst>
          </a:custGeom>
          <a:ln w="2810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11268" y="2477992"/>
            <a:ext cx="507365" cy="144780"/>
          </a:xfrm>
          <a:custGeom>
            <a:avLst/>
            <a:gdLst/>
            <a:ahLst/>
            <a:cxnLst/>
            <a:rect l="l" t="t" r="r" b="b"/>
            <a:pathLst>
              <a:path w="507364" h="144780">
                <a:moveTo>
                  <a:pt x="0" y="144602"/>
                </a:moveTo>
                <a:lnTo>
                  <a:pt x="507341" y="144602"/>
                </a:lnTo>
                <a:lnTo>
                  <a:pt x="507341" y="0"/>
                </a:lnTo>
                <a:lnTo>
                  <a:pt x="0" y="0"/>
                </a:lnTo>
                <a:lnTo>
                  <a:pt x="0" y="14460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211268" y="2365997"/>
            <a:ext cx="507365" cy="257175"/>
          </a:xfrm>
          <a:custGeom>
            <a:avLst/>
            <a:gdLst/>
            <a:ahLst/>
            <a:cxnLst/>
            <a:rect l="l" t="t" r="r" b="b"/>
            <a:pathLst>
              <a:path w="507364" h="257175">
                <a:moveTo>
                  <a:pt x="0" y="0"/>
                </a:moveTo>
                <a:lnTo>
                  <a:pt x="507341" y="0"/>
                </a:lnTo>
                <a:lnTo>
                  <a:pt x="507341" y="256597"/>
                </a:lnTo>
                <a:lnTo>
                  <a:pt x="0" y="256597"/>
                </a:lnTo>
                <a:lnTo>
                  <a:pt x="0" y="0"/>
                </a:lnTo>
              </a:path>
            </a:pathLst>
          </a:custGeom>
          <a:ln w="2804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223102" y="2535033"/>
            <a:ext cx="480059" cy="0"/>
          </a:xfrm>
          <a:custGeom>
            <a:avLst/>
            <a:gdLst/>
            <a:ahLst/>
            <a:cxnLst/>
            <a:rect l="l" t="t" r="r" b="b"/>
            <a:pathLst>
              <a:path w="480060">
                <a:moveTo>
                  <a:pt x="0" y="0"/>
                </a:moveTo>
                <a:lnTo>
                  <a:pt x="479711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315901" y="2477992"/>
            <a:ext cx="0" cy="130810"/>
          </a:xfrm>
          <a:custGeom>
            <a:avLst/>
            <a:gdLst/>
            <a:ahLst/>
            <a:cxnLst/>
            <a:rect l="l" t="t" r="r" b="b"/>
            <a:pathLst>
              <a:path h="130810">
                <a:moveTo>
                  <a:pt x="0" y="0"/>
                </a:moveTo>
                <a:lnTo>
                  <a:pt x="0" y="130341"/>
                </a:lnTo>
              </a:path>
            </a:pathLst>
          </a:custGeom>
          <a:ln w="275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458018" y="2477992"/>
            <a:ext cx="0" cy="130810"/>
          </a:xfrm>
          <a:custGeom>
            <a:avLst/>
            <a:gdLst/>
            <a:ahLst/>
            <a:cxnLst/>
            <a:rect l="l" t="t" r="r" b="b"/>
            <a:pathLst>
              <a:path h="130810">
                <a:moveTo>
                  <a:pt x="0" y="0"/>
                </a:moveTo>
                <a:lnTo>
                  <a:pt x="0" y="130341"/>
                </a:lnTo>
              </a:path>
            </a:pathLst>
          </a:custGeom>
          <a:ln w="275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5586346" y="2477992"/>
            <a:ext cx="0" cy="130810"/>
          </a:xfrm>
          <a:custGeom>
            <a:avLst/>
            <a:gdLst/>
            <a:ahLst/>
            <a:cxnLst/>
            <a:rect l="l" t="t" r="r" b="b"/>
            <a:pathLst>
              <a:path h="130810">
                <a:moveTo>
                  <a:pt x="0" y="0"/>
                </a:moveTo>
                <a:lnTo>
                  <a:pt x="0" y="130341"/>
                </a:lnTo>
              </a:path>
            </a:pathLst>
          </a:custGeom>
          <a:ln w="275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211268" y="2353760"/>
            <a:ext cx="507365" cy="124460"/>
          </a:xfrm>
          <a:custGeom>
            <a:avLst/>
            <a:gdLst/>
            <a:ahLst/>
            <a:cxnLst/>
            <a:rect l="l" t="t" r="r" b="b"/>
            <a:pathLst>
              <a:path w="507364" h="124460">
                <a:moveTo>
                  <a:pt x="0" y="124232"/>
                </a:moveTo>
                <a:lnTo>
                  <a:pt x="507341" y="124232"/>
                </a:lnTo>
                <a:lnTo>
                  <a:pt x="507341" y="0"/>
                </a:lnTo>
                <a:lnTo>
                  <a:pt x="0" y="0"/>
                </a:lnTo>
                <a:lnTo>
                  <a:pt x="0" y="1242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211268" y="2353766"/>
            <a:ext cx="507365" cy="124460"/>
          </a:xfrm>
          <a:custGeom>
            <a:avLst/>
            <a:gdLst/>
            <a:ahLst/>
            <a:cxnLst/>
            <a:rect l="l" t="t" r="r" b="b"/>
            <a:pathLst>
              <a:path w="507364" h="124460">
                <a:moveTo>
                  <a:pt x="0" y="0"/>
                </a:moveTo>
                <a:lnTo>
                  <a:pt x="507341" y="0"/>
                </a:lnTo>
                <a:lnTo>
                  <a:pt x="507341" y="124226"/>
                </a:lnTo>
                <a:lnTo>
                  <a:pt x="0" y="124226"/>
                </a:lnTo>
                <a:lnTo>
                  <a:pt x="0" y="0"/>
                </a:lnTo>
              </a:path>
            </a:pathLst>
          </a:custGeom>
          <a:ln w="28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432368" y="2378205"/>
            <a:ext cx="262890" cy="75565"/>
          </a:xfrm>
          <a:custGeom>
            <a:avLst/>
            <a:gdLst/>
            <a:ahLst/>
            <a:cxnLst/>
            <a:rect l="l" t="t" r="r" b="b"/>
            <a:pathLst>
              <a:path w="262889" h="75564">
                <a:moveTo>
                  <a:pt x="0" y="75353"/>
                </a:moveTo>
                <a:lnTo>
                  <a:pt x="262548" y="75353"/>
                </a:lnTo>
                <a:lnTo>
                  <a:pt x="262548" y="0"/>
                </a:lnTo>
                <a:lnTo>
                  <a:pt x="0" y="0"/>
                </a:lnTo>
                <a:lnTo>
                  <a:pt x="0" y="75353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432368" y="2378200"/>
            <a:ext cx="262890" cy="75565"/>
          </a:xfrm>
          <a:custGeom>
            <a:avLst/>
            <a:gdLst/>
            <a:ahLst/>
            <a:cxnLst/>
            <a:rect l="l" t="t" r="r" b="b"/>
            <a:pathLst>
              <a:path w="262889" h="75564">
                <a:moveTo>
                  <a:pt x="0" y="0"/>
                </a:moveTo>
                <a:lnTo>
                  <a:pt x="262546" y="0"/>
                </a:lnTo>
                <a:lnTo>
                  <a:pt x="262546" y="75358"/>
                </a:lnTo>
                <a:lnTo>
                  <a:pt x="0" y="75358"/>
                </a:lnTo>
                <a:lnTo>
                  <a:pt x="0" y="0"/>
                </a:lnTo>
              </a:path>
            </a:pathLst>
          </a:custGeom>
          <a:ln w="2813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246797" y="2378200"/>
            <a:ext cx="85090" cy="90170"/>
          </a:xfrm>
          <a:custGeom>
            <a:avLst/>
            <a:gdLst/>
            <a:ahLst/>
            <a:cxnLst/>
            <a:rect l="l" t="t" r="r" b="b"/>
            <a:pathLst>
              <a:path w="85089" h="90169">
                <a:moveTo>
                  <a:pt x="41473" y="0"/>
                </a:moveTo>
                <a:lnTo>
                  <a:pt x="11861" y="12231"/>
                </a:lnTo>
                <a:lnTo>
                  <a:pt x="0" y="44809"/>
                </a:lnTo>
                <a:lnTo>
                  <a:pt x="11861" y="75358"/>
                </a:lnTo>
                <a:lnTo>
                  <a:pt x="25676" y="85532"/>
                </a:lnTo>
                <a:lnTo>
                  <a:pt x="41473" y="89618"/>
                </a:lnTo>
                <a:lnTo>
                  <a:pt x="59224" y="85532"/>
                </a:lnTo>
                <a:lnTo>
                  <a:pt x="73039" y="75358"/>
                </a:lnTo>
                <a:lnTo>
                  <a:pt x="82919" y="61098"/>
                </a:lnTo>
                <a:lnTo>
                  <a:pt x="84900" y="44809"/>
                </a:lnTo>
                <a:lnTo>
                  <a:pt x="73039" y="12231"/>
                </a:lnTo>
                <a:lnTo>
                  <a:pt x="414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246797" y="2378200"/>
            <a:ext cx="85090" cy="90170"/>
          </a:xfrm>
          <a:custGeom>
            <a:avLst/>
            <a:gdLst/>
            <a:ahLst/>
            <a:cxnLst/>
            <a:rect l="l" t="t" r="r" b="b"/>
            <a:pathLst>
              <a:path w="85089" h="90169">
                <a:moveTo>
                  <a:pt x="0" y="44809"/>
                </a:moveTo>
                <a:lnTo>
                  <a:pt x="11861" y="12231"/>
                </a:lnTo>
                <a:lnTo>
                  <a:pt x="41473" y="0"/>
                </a:lnTo>
                <a:lnTo>
                  <a:pt x="73039" y="12231"/>
                </a:lnTo>
                <a:lnTo>
                  <a:pt x="84900" y="44809"/>
                </a:lnTo>
                <a:lnTo>
                  <a:pt x="82919" y="61098"/>
                </a:lnTo>
                <a:lnTo>
                  <a:pt x="73039" y="75358"/>
                </a:lnTo>
                <a:lnTo>
                  <a:pt x="59224" y="85532"/>
                </a:lnTo>
                <a:lnTo>
                  <a:pt x="41473" y="89618"/>
                </a:lnTo>
                <a:lnTo>
                  <a:pt x="25676" y="85532"/>
                </a:lnTo>
                <a:lnTo>
                  <a:pt x="11861" y="75358"/>
                </a:lnTo>
                <a:lnTo>
                  <a:pt x="0" y="44809"/>
                </a:lnTo>
              </a:path>
            </a:pathLst>
          </a:custGeom>
          <a:ln w="2783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246797" y="2498368"/>
            <a:ext cx="45720" cy="0"/>
          </a:xfrm>
          <a:custGeom>
            <a:avLst/>
            <a:gdLst/>
            <a:ahLst/>
            <a:cxnLst/>
            <a:rect l="l" t="t" r="r" b="b"/>
            <a:pathLst>
              <a:path w="45720">
                <a:moveTo>
                  <a:pt x="0" y="0"/>
                </a:moveTo>
                <a:lnTo>
                  <a:pt x="45408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363264" y="2498368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90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503426" y="2498368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90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31755" y="2498368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62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246797" y="2571670"/>
            <a:ext cx="45720" cy="0"/>
          </a:xfrm>
          <a:custGeom>
            <a:avLst/>
            <a:gdLst/>
            <a:ahLst/>
            <a:cxnLst/>
            <a:rect l="l" t="t" r="r" b="b"/>
            <a:pathLst>
              <a:path w="45720">
                <a:moveTo>
                  <a:pt x="0" y="0"/>
                </a:moveTo>
                <a:lnTo>
                  <a:pt x="45408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363264" y="2571670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90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503426" y="2571670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90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31755" y="2571670"/>
            <a:ext cx="47625" cy="0"/>
          </a:xfrm>
          <a:custGeom>
            <a:avLst/>
            <a:gdLst/>
            <a:ahLst/>
            <a:cxnLst/>
            <a:rect l="l" t="t" r="r" b="b"/>
            <a:pathLst>
              <a:path w="47625">
                <a:moveTo>
                  <a:pt x="0" y="0"/>
                </a:moveTo>
                <a:lnTo>
                  <a:pt x="47362" y="0"/>
                </a:lnTo>
              </a:path>
            </a:pathLst>
          </a:custGeom>
          <a:ln w="2818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139369" y="2475963"/>
            <a:ext cx="1040765" cy="318135"/>
          </a:xfrm>
          <a:custGeom>
            <a:avLst/>
            <a:gdLst/>
            <a:ahLst/>
            <a:cxnLst/>
            <a:rect l="l" t="t" r="r" b="b"/>
            <a:pathLst>
              <a:path w="1040764" h="318135">
                <a:moveTo>
                  <a:pt x="0" y="317696"/>
                </a:moveTo>
                <a:lnTo>
                  <a:pt x="1040332" y="317696"/>
                </a:lnTo>
                <a:lnTo>
                  <a:pt x="1040332" y="0"/>
                </a:lnTo>
                <a:lnTo>
                  <a:pt x="0" y="0"/>
                </a:lnTo>
                <a:lnTo>
                  <a:pt x="0" y="3176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139369" y="2475963"/>
            <a:ext cx="1040765" cy="318135"/>
          </a:xfrm>
          <a:custGeom>
            <a:avLst/>
            <a:gdLst/>
            <a:ahLst/>
            <a:cxnLst/>
            <a:rect l="l" t="t" r="r" b="b"/>
            <a:pathLst>
              <a:path w="1040764" h="318135">
                <a:moveTo>
                  <a:pt x="0" y="0"/>
                </a:moveTo>
                <a:lnTo>
                  <a:pt x="1040305" y="0"/>
                </a:lnTo>
                <a:lnTo>
                  <a:pt x="1040305" y="317696"/>
                </a:lnTo>
                <a:lnTo>
                  <a:pt x="0" y="317696"/>
                </a:lnTo>
                <a:lnTo>
                  <a:pt x="0" y="0"/>
                </a:lnTo>
              </a:path>
            </a:pathLst>
          </a:custGeom>
          <a:ln w="281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478891" y="2826266"/>
            <a:ext cx="1156970" cy="100330"/>
          </a:xfrm>
          <a:custGeom>
            <a:avLst/>
            <a:gdLst/>
            <a:ahLst/>
            <a:cxnLst/>
            <a:rect l="l" t="t" r="r" b="b"/>
            <a:pathLst>
              <a:path w="1156970" h="100330">
                <a:moveTo>
                  <a:pt x="0" y="99792"/>
                </a:moveTo>
                <a:lnTo>
                  <a:pt x="1156799" y="99792"/>
                </a:lnTo>
                <a:lnTo>
                  <a:pt x="1156799" y="0"/>
                </a:lnTo>
                <a:lnTo>
                  <a:pt x="0" y="0"/>
                </a:lnTo>
                <a:lnTo>
                  <a:pt x="0" y="9979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78891" y="2826266"/>
            <a:ext cx="1156970" cy="100330"/>
          </a:xfrm>
          <a:custGeom>
            <a:avLst/>
            <a:gdLst/>
            <a:ahLst/>
            <a:cxnLst/>
            <a:rect l="l" t="t" r="r" b="b"/>
            <a:pathLst>
              <a:path w="1156970" h="100330">
                <a:moveTo>
                  <a:pt x="0" y="0"/>
                </a:moveTo>
                <a:lnTo>
                  <a:pt x="1156799" y="0"/>
                </a:lnTo>
                <a:lnTo>
                  <a:pt x="1156799" y="99792"/>
                </a:lnTo>
                <a:lnTo>
                  <a:pt x="0" y="99792"/>
                </a:lnTo>
                <a:lnTo>
                  <a:pt x="0" y="0"/>
                </a:lnTo>
              </a:path>
            </a:pathLst>
          </a:custGeom>
          <a:ln w="281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151203" y="2559467"/>
            <a:ext cx="1470660" cy="279400"/>
          </a:xfrm>
          <a:custGeom>
            <a:avLst/>
            <a:gdLst/>
            <a:ahLst/>
            <a:cxnLst/>
            <a:rect l="l" t="t" r="r" b="b"/>
            <a:pathLst>
              <a:path w="1470660" h="279400">
                <a:moveTo>
                  <a:pt x="1000840" y="0"/>
                </a:moveTo>
                <a:lnTo>
                  <a:pt x="0" y="0"/>
                </a:lnTo>
                <a:lnTo>
                  <a:pt x="327687" y="266799"/>
                </a:lnTo>
                <a:lnTo>
                  <a:pt x="1470671" y="279002"/>
                </a:lnTo>
                <a:lnTo>
                  <a:pt x="1000840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151203" y="2559467"/>
            <a:ext cx="1470660" cy="279400"/>
          </a:xfrm>
          <a:custGeom>
            <a:avLst/>
            <a:gdLst/>
            <a:ahLst/>
            <a:cxnLst/>
            <a:rect l="l" t="t" r="r" b="b"/>
            <a:pathLst>
              <a:path w="1470660" h="279400">
                <a:moveTo>
                  <a:pt x="327687" y="266799"/>
                </a:moveTo>
                <a:lnTo>
                  <a:pt x="1470671" y="279002"/>
                </a:lnTo>
                <a:lnTo>
                  <a:pt x="1000840" y="0"/>
                </a:lnTo>
                <a:lnTo>
                  <a:pt x="0" y="0"/>
                </a:lnTo>
                <a:lnTo>
                  <a:pt x="327687" y="266799"/>
                </a:lnTo>
              </a:path>
            </a:pathLst>
          </a:custGeom>
          <a:ln w="2815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139369" y="2644999"/>
            <a:ext cx="339725" cy="362585"/>
          </a:xfrm>
          <a:custGeom>
            <a:avLst/>
            <a:gdLst/>
            <a:ahLst/>
            <a:cxnLst/>
            <a:rect l="l" t="t" r="r" b="b"/>
            <a:pathLst>
              <a:path w="339725" h="362585">
                <a:moveTo>
                  <a:pt x="0" y="0"/>
                </a:moveTo>
                <a:lnTo>
                  <a:pt x="0" y="95734"/>
                </a:lnTo>
                <a:lnTo>
                  <a:pt x="339521" y="362505"/>
                </a:lnTo>
                <a:lnTo>
                  <a:pt x="325705" y="264770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139369" y="2644999"/>
            <a:ext cx="339725" cy="362585"/>
          </a:xfrm>
          <a:custGeom>
            <a:avLst/>
            <a:gdLst/>
            <a:ahLst/>
            <a:cxnLst/>
            <a:rect l="l" t="t" r="r" b="b"/>
            <a:pathLst>
              <a:path w="339725" h="362585">
                <a:moveTo>
                  <a:pt x="0" y="95734"/>
                </a:moveTo>
                <a:lnTo>
                  <a:pt x="339521" y="362505"/>
                </a:lnTo>
                <a:lnTo>
                  <a:pt x="325705" y="264770"/>
                </a:lnTo>
                <a:lnTo>
                  <a:pt x="0" y="0"/>
                </a:lnTo>
                <a:lnTo>
                  <a:pt x="0" y="95734"/>
                </a:lnTo>
              </a:path>
            </a:pathLst>
          </a:custGeom>
          <a:ln w="2782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478891" y="2909769"/>
            <a:ext cx="1156970" cy="100330"/>
          </a:xfrm>
          <a:custGeom>
            <a:avLst/>
            <a:gdLst/>
            <a:ahLst/>
            <a:cxnLst/>
            <a:rect l="l" t="t" r="r" b="b"/>
            <a:pathLst>
              <a:path w="1156970" h="100330">
                <a:moveTo>
                  <a:pt x="0" y="99792"/>
                </a:moveTo>
                <a:lnTo>
                  <a:pt x="1156799" y="99792"/>
                </a:lnTo>
                <a:lnTo>
                  <a:pt x="1156799" y="0"/>
                </a:lnTo>
                <a:lnTo>
                  <a:pt x="0" y="0"/>
                </a:lnTo>
                <a:lnTo>
                  <a:pt x="0" y="99792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78891" y="2909769"/>
            <a:ext cx="1156970" cy="100330"/>
          </a:xfrm>
          <a:custGeom>
            <a:avLst/>
            <a:gdLst/>
            <a:ahLst/>
            <a:cxnLst/>
            <a:rect l="l" t="t" r="r" b="b"/>
            <a:pathLst>
              <a:path w="1156970" h="100330">
                <a:moveTo>
                  <a:pt x="0" y="0"/>
                </a:moveTo>
                <a:lnTo>
                  <a:pt x="1156799" y="0"/>
                </a:lnTo>
                <a:lnTo>
                  <a:pt x="1156799" y="99792"/>
                </a:lnTo>
                <a:lnTo>
                  <a:pt x="0" y="99792"/>
                </a:lnTo>
                <a:lnTo>
                  <a:pt x="0" y="0"/>
                </a:lnTo>
              </a:path>
            </a:pathLst>
          </a:custGeom>
          <a:ln w="281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419667" y="2549293"/>
            <a:ext cx="321945" cy="240665"/>
          </a:xfrm>
          <a:custGeom>
            <a:avLst/>
            <a:gdLst/>
            <a:ahLst/>
            <a:cxnLst/>
            <a:rect l="l" t="t" r="r" b="b"/>
            <a:pathLst>
              <a:path w="321945" h="240664">
                <a:moveTo>
                  <a:pt x="223081" y="0"/>
                </a:moveTo>
                <a:lnTo>
                  <a:pt x="0" y="0"/>
                </a:lnTo>
                <a:lnTo>
                  <a:pt x="321770" y="240308"/>
                </a:lnTo>
                <a:lnTo>
                  <a:pt x="131288" y="83475"/>
                </a:lnTo>
                <a:lnTo>
                  <a:pt x="116467" y="83475"/>
                </a:lnTo>
                <a:lnTo>
                  <a:pt x="116467" y="71272"/>
                </a:lnTo>
                <a:lnTo>
                  <a:pt x="132052" y="71272"/>
                </a:lnTo>
                <a:lnTo>
                  <a:pt x="223081" y="0"/>
                </a:lnTo>
                <a:close/>
              </a:path>
              <a:path w="321945" h="240664">
                <a:moveTo>
                  <a:pt x="124063" y="77527"/>
                </a:moveTo>
                <a:lnTo>
                  <a:pt x="116467" y="83475"/>
                </a:lnTo>
                <a:lnTo>
                  <a:pt x="131288" y="83475"/>
                </a:lnTo>
                <a:lnTo>
                  <a:pt x="124063" y="77527"/>
                </a:lnTo>
                <a:close/>
              </a:path>
              <a:path w="321945" h="240664">
                <a:moveTo>
                  <a:pt x="132052" y="71272"/>
                </a:moveTo>
                <a:lnTo>
                  <a:pt x="116467" y="71272"/>
                </a:lnTo>
                <a:lnTo>
                  <a:pt x="124063" y="77527"/>
                </a:lnTo>
                <a:lnTo>
                  <a:pt x="132052" y="7127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419667" y="2549293"/>
            <a:ext cx="321945" cy="240665"/>
          </a:xfrm>
          <a:custGeom>
            <a:avLst/>
            <a:gdLst/>
            <a:ahLst/>
            <a:cxnLst/>
            <a:rect l="l" t="t" r="r" b="b"/>
            <a:pathLst>
              <a:path w="321945" h="240664">
                <a:moveTo>
                  <a:pt x="116467" y="71272"/>
                </a:moveTo>
                <a:lnTo>
                  <a:pt x="116467" y="83475"/>
                </a:lnTo>
                <a:lnTo>
                  <a:pt x="223081" y="0"/>
                </a:lnTo>
                <a:lnTo>
                  <a:pt x="0" y="0"/>
                </a:lnTo>
                <a:lnTo>
                  <a:pt x="321770" y="240308"/>
                </a:lnTo>
                <a:lnTo>
                  <a:pt x="116467" y="71272"/>
                </a:lnTo>
              </a:path>
            </a:pathLst>
          </a:custGeom>
          <a:ln w="2794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395999" y="2549293"/>
            <a:ext cx="369570" cy="264795"/>
          </a:xfrm>
          <a:custGeom>
            <a:avLst/>
            <a:gdLst/>
            <a:ahLst/>
            <a:cxnLst/>
            <a:rect l="l" t="t" r="r" b="b"/>
            <a:pathLst>
              <a:path w="369570" h="264794">
                <a:moveTo>
                  <a:pt x="0" y="0"/>
                </a:moveTo>
                <a:lnTo>
                  <a:pt x="35529" y="59041"/>
                </a:lnTo>
                <a:lnTo>
                  <a:pt x="298075" y="252510"/>
                </a:lnTo>
                <a:lnTo>
                  <a:pt x="369133" y="264741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395999" y="2549293"/>
            <a:ext cx="369570" cy="264795"/>
          </a:xfrm>
          <a:custGeom>
            <a:avLst/>
            <a:gdLst/>
            <a:ahLst/>
            <a:cxnLst/>
            <a:rect l="l" t="t" r="r" b="b"/>
            <a:pathLst>
              <a:path w="369570" h="264794">
                <a:moveTo>
                  <a:pt x="369133" y="264741"/>
                </a:moveTo>
                <a:lnTo>
                  <a:pt x="298075" y="252510"/>
                </a:lnTo>
                <a:lnTo>
                  <a:pt x="35529" y="59041"/>
                </a:lnTo>
                <a:lnTo>
                  <a:pt x="0" y="0"/>
                </a:lnTo>
                <a:lnTo>
                  <a:pt x="369133" y="264741"/>
                </a:lnTo>
              </a:path>
            </a:pathLst>
          </a:custGeom>
          <a:ln w="2795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952657" y="2596132"/>
            <a:ext cx="363855" cy="242570"/>
          </a:xfrm>
          <a:custGeom>
            <a:avLst/>
            <a:gdLst/>
            <a:ahLst/>
            <a:cxnLst/>
            <a:rect l="l" t="t" r="r" b="b"/>
            <a:pathLst>
              <a:path w="363854" h="242569">
                <a:moveTo>
                  <a:pt x="47390" y="0"/>
                </a:moveTo>
                <a:lnTo>
                  <a:pt x="0" y="12202"/>
                </a:lnTo>
                <a:lnTo>
                  <a:pt x="304019" y="242337"/>
                </a:lnTo>
                <a:lnTo>
                  <a:pt x="363244" y="242337"/>
                </a:lnTo>
                <a:lnTo>
                  <a:pt x="4739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952657" y="2596132"/>
            <a:ext cx="363855" cy="242570"/>
          </a:xfrm>
          <a:custGeom>
            <a:avLst/>
            <a:gdLst/>
            <a:ahLst/>
            <a:cxnLst/>
            <a:rect l="l" t="t" r="r" b="b"/>
            <a:pathLst>
              <a:path w="363854" h="242569">
                <a:moveTo>
                  <a:pt x="47390" y="0"/>
                </a:moveTo>
                <a:lnTo>
                  <a:pt x="363244" y="242337"/>
                </a:lnTo>
                <a:lnTo>
                  <a:pt x="304019" y="242337"/>
                </a:lnTo>
                <a:lnTo>
                  <a:pt x="0" y="12202"/>
                </a:lnTo>
                <a:lnTo>
                  <a:pt x="47390" y="0"/>
                </a:lnTo>
              </a:path>
            </a:pathLst>
          </a:custGeom>
          <a:ln w="2797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731585" y="2549293"/>
            <a:ext cx="551180" cy="240665"/>
          </a:xfrm>
          <a:custGeom>
            <a:avLst/>
            <a:gdLst/>
            <a:ahLst/>
            <a:cxnLst/>
            <a:rect l="l" t="t" r="r" b="b"/>
            <a:pathLst>
              <a:path w="551179" h="240664">
                <a:moveTo>
                  <a:pt x="232934" y="0"/>
                </a:moveTo>
                <a:lnTo>
                  <a:pt x="0" y="0"/>
                </a:lnTo>
                <a:lnTo>
                  <a:pt x="315826" y="83475"/>
                </a:lnTo>
                <a:lnTo>
                  <a:pt x="550741" y="240308"/>
                </a:lnTo>
                <a:lnTo>
                  <a:pt x="23293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731585" y="2549293"/>
            <a:ext cx="551180" cy="240665"/>
          </a:xfrm>
          <a:custGeom>
            <a:avLst/>
            <a:gdLst/>
            <a:ahLst/>
            <a:cxnLst/>
            <a:rect l="l" t="t" r="r" b="b"/>
            <a:pathLst>
              <a:path w="551179" h="240664">
                <a:moveTo>
                  <a:pt x="232934" y="0"/>
                </a:moveTo>
                <a:lnTo>
                  <a:pt x="550741" y="240308"/>
                </a:lnTo>
                <a:lnTo>
                  <a:pt x="315826" y="83475"/>
                </a:lnTo>
                <a:lnTo>
                  <a:pt x="0" y="0"/>
                </a:lnTo>
                <a:lnTo>
                  <a:pt x="232934" y="0"/>
                </a:lnTo>
              </a:path>
            </a:pathLst>
          </a:custGeom>
          <a:ln w="2807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4326895" y="2704069"/>
            <a:ext cx="1281430" cy="134620"/>
          </a:xfrm>
          <a:custGeom>
            <a:avLst/>
            <a:gdLst/>
            <a:ahLst/>
            <a:cxnLst/>
            <a:rect l="l" t="t" r="r" b="b"/>
            <a:pathLst>
              <a:path w="1281429" h="134619">
                <a:moveTo>
                  <a:pt x="1095593" y="0"/>
                </a:moveTo>
                <a:lnTo>
                  <a:pt x="0" y="0"/>
                </a:lnTo>
                <a:lnTo>
                  <a:pt x="151996" y="134400"/>
                </a:lnTo>
                <a:lnTo>
                  <a:pt x="1281165" y="134400"/>
                </a:lnTo>
                <a:lnTo>
                  <a:pt x="1095593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326895" y="2704069"/>
            <a:ext cx="1281430" cy="134620"/>
          </a:xfrm>
          <a:custGeom>
            <a:avLst/>
            <a:gdLst/>
            <a:ahLst/>
            <a:cxnLst/>
            <a:rect l="l" t="t" r="r" b="b"/>
            <a:pathLst>
              <a:path w="1281429" h="134619">
                <a:moveTo>
                  <a:pt x="151996" y="134400"/>
                </a:moveTo>
                <a:lnTo>
                  <a:pt x="1281165" y="134400"/>
                </a:lnTo>
                <a:lnTo>
                  <a:pt x="1095593" y="0"/>
                </a:lnTo>
                <a:lnTo>
                  <a:pt x="0" y="0"/>
                </a:lnTo>
                <a:lnTo>
                  <a:pt x="151996" y="134400"/>
                </a:lnTo>
              </a:path>
            </a:pathLst>
          </a:custGeom>
          <a:ln w="2817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139369" y="2559467"/>
            <a:ext cx="339725" cy="362585"/>
          </a:xfrm>
          <a:custGeom>
            <a:avLst/>
            <a:gdLst/>
            <a:ahLst/>
            <a:cxnLst/>
            <a:rect l="l" t="t" r="r" b="b"/>
            <a:pathLst>
              <a:path w="339725" h="362585">
                <a:moveTo>
                  <a:pt x="0" y="0"/>
                </a:moveTo>
                <a:lnTo>
                  <a:pt x="0" y="97763"/>
                </a:lnTo>
                <a:lnTo>
                  <a:pt x="339521" y="362505"/>
                </a:lnTo>
                <a:lnTo>
                  <a:pt x="325705" y="266799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139369" y="2559467"/>
            <a:ext cx="339725" cy="362585"/>
          </a:xfrm>
          <a:custGeom>
            <a:avLst/>
            <a:gdLst/>
            <a:ahLst/>
            <a:cxnLst/>
            <a:rect l="l" t="t" r="r" b="b"/>
            <a:pathLst>
              <a:path w="339725" h="362585">
                <a:moveTo>
                  <a:pt x="0" y="97763"/>
                </a:moveTo>
                <a:lnTo>
                  <a:pt x="339521" y="362505"/>
                </a:lnTo>
                <a:lnTo>
                  <a:pt x="325705" y="266799"/>
                </a:lnTo>
                <a:lnTo>
                  <a:pt x="0" y="0"/>
                </a:lnTo>
                <a:lnTo>
                  <a:pt x="0" y="97763"/>
                </a:lnTo>
              </a:path>
            </a:pathLst>
          </a:custGeom>
          <a:ln w="2782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294468" y="1706143"/>
            <a:ext cx="2444115" cy="509270"/>
          </a:xfrm>
          <a:custGeom>
            <a:avLst/>
            <a:gdLst/>
            <a:ahLst/>
            <a:cxnLst/>
            <a:rect l="l" t="t" r="r" b="b"/>
            <a:pathLst>
              <a:path w="2444115" h="509269">
                <a:moveTo>
                  <a:pt x="1521989" y="0"/>
                </a:moveTo>
                <a:lnTo>
                  <a:pt x="0" y="0"/>
                </a:lnTo>
                <a:lnTo>
                  <a:pt x="637616" y="509136"/>
                </a:lnTo>
                <a:lnTo>
                  <a:pt x="2443874" y="496905"/>
                </a:lnTo>
                <a:lnTo>
                  <a:pt x="152198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294468" y="1706143"/>
            <a:ext cx="2444115" cy="509270"/>
          </a:xfrm>
          <a:custGeom>
            <a:avLst/>
            <a:gdLst/>
            <a:ahLst/>
            <a:cxnLst/>
            <a:rect l="l" t="t" r="r" b="b"/>
            <a:pathLst>
              <a:path w="2444115" h="509269">
                <a:moveTo>
                  <a:pt x="637616" y="509136"/>
                </a:moveTo>
                <a:lnTo>
                  <a:pt x="2443874" y="496905"/>
                </a:lnTo>
                <a:lnTo>
                  <a:pt x="1521989" y="0"/>
                </a:lnTo>
                <a:lnTo>
                  <a:pt x="0" y="0"/>
                </a:lnTo>
                <a:lnTo>
                  <a:pt x="637616" y="509136"/>
                </a:lnTo>
              </a:path>
            </a:pathLst>
          </a:custGeom>
          <a:ln w="2815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904454" y="2178615"/>
            <a:ext cx="0" cy="102235"/>
          </a:xfrm>
          <a:custGeom>
            <a:avLst/>
            <a:gdLst/>
            <a:ahLst/>
            <a:cxnLst/>
            <a:rect l="l" t="t" r="r" b="b"/>
            <a:pathLst>
              <a:path h="102235">
                <a:moveTo>
                  <a:pt x="0" y="101821"/>
                </a:moveTo>
                <a:lnTo>
                  <a:pt x="0" y="0"/>
                </a:lnTo>
              </a:path>
            </a:pathLst>
          </a:custGeom>
          <a:ln w="2752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493847" y="1598178"/>
            <a:ext cx="667385" cy="672465"/>
          </a:xfrm>
          <a:custGeom>
            <a:avLst/>
            <a:gdLst/>
            <a:ahLst/>
            <a:cxnLst/>
            <a:rect l="l" t="t" r="r" b="b"/>
            <a:pathLst>
              <a:path w="667385" h="672464">
                <a:moveTo>
                  <a:pt x="45403" y="0"/>
                </a:moveTo>
                <a:lnTo>
                  <a:pt x="0" y="134428"/>
                </a:lnTo>
                <a:lnTo>
                  <a:pt x="667236" y="672085"/>
                </a:lnTo>
                <a:lnTo>
                  <a:pt x="454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493847" y="1598178"/>
            <a:ext cx="667385" cy="672465"/>
          </a:xfrm>
          <a:custGeom>
            <a:avLst/>
            <a:gdLst/>
            <a:ahLst/>
            <a:cxnLst/>
            <a:rect l="l" t="t" r="r" b="b"/>
            <a:pathLst>
              <a:path w="667385" h="672464">
                <a:moveTo>
                  <a:pt x="667236" y="672085"/>
                </a:moveTo>
                <a:lnTo>
                  <a:pt x="45403" y="0"/>
                </a:lnTo>
                <a:lnTo>
                  <a:pt x="0" y="134428"/>
                </a:lnTo>
                <a:lnTo>
                  <a:pt x="667236" y="672085"/>
                </a:lnTo>
              </a:path>
            </a:pathLst>
          </a:custGeom>
          <a:ln w="2784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17537" y="1610409"/>
            <a:ext cx="1893570" cy="593090"/>
          </a:xfrm>
          <a:custGeom>
            <a:avLst/>
            <a:gdLst/>
            <a:ahLst/>
            <a:cxnLst/>
            <a:rect l="l" t="t" r="r" b="b"/>
            <a:pathLst>
              <a:path w="1893570" h="593089">
                <a:moveTo>
                  <a:pt x="1008744" y="0"/>
                </a:moveTo>
                <a:lnTo>
                  <a:pt x="0" y="0"/>
                </a:lnTo>
                <a:lnTo>
                  <a:pt x="568525" y="592639"/>
                </a:lnTo>
                <a:lnTo>
                  <a:pt x="1893118" y="580437"/>
                </a:lnTo>
                <a:lnTo>
                  <a:pt x="10087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17537" y="1610409"/>
            <a:ext cx="1893570" cy="593090"/>
          </a:xfrm>
          <a:custGeom>
            <a:avLst/>
            <a:gdLst/>
            <a:ahLst/>
            <a:cxnLst/>
            <a:rect l="l" t="t" r="r" b="b"/>
            <a:pathLst>
              <a:path w="1893570" h="593089">
                <a:moveTo>
                  <a:pt x="568525" y="592639"/>
                </a:moveTo>
                <a:lnTo>
                  <a:pt x="1893118" y="580437"/>
                </a:lnTo>
                <a:lnTo>
                  <a:pt x="1008744" y="0"/>
                </a:lnTo>
                <a:lnTo>
                  <a:pt x="0" y="0"/>
                </a:lnTo>
                <a:lnTo>
                  <a:pt x="568525" y="592639"/>
                </a:lnTo>
              </a:path>
            </a:pathLst>
          </a:custGeom>
          <a:ln w="2812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282624" y="1706143"/>
            <a:ext cx="2456180" cy="588645"/>
          </a:xfrm>
          <a:custGeom>
            <a:avLst/>
            <a:gdLst/>
            <a:ahLst/>
            <a:cxnLst/>
            <a:rect l="l" t="t" r="r" b="b"/>
            <a:pathLst>
              <a:path w="2456179" h="588644">
                <a:moveTo>
                  <a:pt x="0" y="0"/>
                </a:moveTo>
                <a:lnTo>
                  <a:pt x="0" y="134400"/>
                </a:lnTo>
                <a:lnTo>
                  <a:pt x="621830" y="588553"/>
                </a:lnTo>
                <a:lnTo>
                  <a:pt x="2455718" y="588553"/>
                </a:lnTo>
                <a:lnTo>
                  <a:pt x="2455718" y="484702"/>
                </a:lnTo>
                <a:lnTo>
                  <a:pt x="631682" y="48470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282624" y="1706143"/>
            <a:ext cx="2456180" cy="588645"/>
          </a:xfrm>
          <a:custGeom>
            <a:avLst/>
            <a:gdLst/>
            <a:ahLst/>
            <a:cxnLst/>
            <a:rect l="l" t="t" r="r" b="b"/>
            <a:pathLst>
              <a:path w="2456179" h="588644">
                <a:moveTo>
                  <a:pt x="631682" y="484702"/>
                </a:moveTo>
                <a:lnTo>
                  <a:pt x="2455718" y="484702"/>
                </a:lnTo>
                <a:lnTo>
                  <a:pt x="2455718" y="588553"/>
                </a:lnTo>
                <a:lnTo>
                  <a:pt x="621830" y="588553"/>
                </a:lnTo>
                <a:lnTo>
                  <a:pt x="0" y="134400"/>
                </a:lnTo>
                <a:lnTo>
                  <a:pt x="0" y="0"/>
                </a:lnTo>
                <a:lnTo>
                  <a:pt x="631682" y="484702"/>
                </a:lnTo>
              </a:path>
            </a:pathLst>
          </a:custGeom>
          <a:ln w="2814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689270" y="1683738"/>
            <a:ext cx="1178560" cy="252729"/>
          </a:xfrm>
          <a:custGeom>
            <a:avLst/>
            <a:gdLst/>
            <a:ahLst/>
            <a:cxnLst/>
            <a:rect l="l" t="t" r="r" b="b"/>
            <a:pathLst>
              <a:path w="1178560" h="252730">
                <a:moveTo>
                  <a:pt x="801481" y="0"/>
                </a:moveTo>
                <a:lnTo>
                  <a:pt x="0" y="0"/>
                </a:lnTo>
                <a:lnTo>
                  <a:pt x="262546" y="252539"/>
                </a:lnTo>
                <a:lnTo>
                  <a:pt x="1178513" y="252539"/>
                </a:lnTo>
                <a:lnTo>
                  <a:pt x="80148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689270" y="1683738"/>
            <a:ext cx="1178560" cy="252729"/>
          </a:xfrm>
          <a:custGeom>
            <a:avLst/>
            <a:gdLst/>
            <a:ahLst/>
            <a:cxnLst/>
            <a:rect l="l" t="t" r="r" b="b"/>
            <a:pathLst>
              <a:path w="1178560" h="252730">
                <a:moveTo>
                  <a:pt x="262546" y="252539"/>
                </a:moveTo>
                <a:lnTo>
                  <a:pt x="1178513" y="252539"/>
                </a:lnTo>
                <a:lnTo>
                  <a:pt x="801481" y="0"/>
                </a:lnTo>
                <a:lnTo>
                  <a:pt x="0" y="0"/>
                </a:lnTo>
                <a:lnTo>
                  <a:pt x="262546" y="252539"/>
                </a:lnTo>
              </a:path>
            </a:pathLst>
          </a:custGeom>
          <a:ln w="2815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693233" y="1683738"/>
            <a:ext cx="797560" cy="95885"/>
          </a:xfrm>
          <a:custGeom>
            <a:avLst/>
            <a:gdLst/>
            <a:ahLst/>
            <a:cxnLst/>
            <a:rect l="l" t="t" r="r" b="b"/>
            <a:pathLst>
              <a:path w="797560" h="95885">
                <a:moveTo>
                  <a:pt x="797518" y="0"/>
                </a:moveTo>
                <a:lnTo>
                  <a:pt x="0" y="0"/>
                </a:lnTo>
                <a:lnTo>
                  <a:pt x="92771" y="95706"/>
                </a:lnTo>
                <a:lnTo>
                  <a:pt x="785657" y="95706"/>
                </a:lnTo>
                <a:lnTo>
                  <a:pt x="797518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693233" y="1683738"/>
            <a:ext cx="797560" cy="95885"/>
          </a:xfrm>
          <a:custGeom>
            <a:avLst/>
            <a:gdLst/>
            <a:ahLst/>
            <a:cxnLst/>
            <a:rect l="l" t="t" r="r" b="b"/>
            <a:pathLst>
              <a:path w="797560" h="95885">
                <a:moveTo>
                  <a:pt x="92771" y="95706"/>
                </a:moveTo>
                <a:lnTo>
                  <a:pt x="785657" y="95706"/>
                </a:lnTo>
                <a:lnTo>
                  <a:pt x="797518" y="0"/>
                </a:lnTo>
                <a:lnTo>
                  <a:pt x="0" y="0"/>
                </a:lnTo>
                <a:lnTo>
                  <a:pt x="92771" y="95706"/>
                </a:lnTo>
              </a:path>
            </a:pathLst>
          </a:custGeom>
          <a:ln w="2817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786005" y="1779445"/>
            <a:ext cx="681355" cy="85725"/>
          </a:xfrm>
          <a:custGeom>
            <a:avLst/>
            <a:gdLst/>
            <a:ahLst/>
            <a:cxnLst/>
            <a:rect l="l" t="t" r="r" b="b"/>
            <a:pathLst>
              <a:path w="681354" h="85725">
                <a:moveTo>
                  <a:pt x="681051" y="0"/>
                </a:moveTo>
                <a:lnTo>
                  <a:pt x="0" y="0"/>
                </a:lnTo>
                <a:lnTo>
                  <a:pt x="80937" y="85532"/>
                </a:lnTo>
                <a:lnTo>
                  <a:pt x="651439" y="71272"/>
                </a:lnTo>
                <a:lnTo>
                  <a:pt x="681051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786005" y="1779445"/>
            <a:ext cx="681355" cy="85725"/>
          </a:xfrm>
          <a:custGeom>
            <a:avLst/>
            <a:gdLst/>
            <a:ahLst/>
            <a:cxnLst/>
            <a:rect l="l" t="t" r="r" b="b"/>
            <a:pathLst>
              <a:path w="681354" h="85725">
                <a:moveTo>
                  <a:pt x="80937" y="85532"/>
                </a:moveTo>
                <a:lnTo>
                  <a:pt x="651439" y="71272"/>
                </a:lnTo>
                <a:lnTo>
                  <a:pt x="681051" y="0"/>
                </a:lnTo>
                <a:lnTo>
                  <a:pt x="0" y="0"/>
                </a:lnTo>
                <a:lnTo>
                  <a:pt x="80937" y="85532"/>
                </a:lnTo>
              </a:path>
            </a:pathLst>
          </a:custGeom>
          <a:ln w="2817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857063" y="1852774"/>
            <a:ext cx="574675" cy="83820"/>
          </a:xfrm>
          <a:custGeom>
            <a:avLst/>
            <a:gdLst/>
            <a:ahLst/>
            <a:cxnLst/>
            <a:rect l="l" t="t" r="r" b="b"/>
            <a:pathLst>
              <a:path w="574675" h="83819">
                <a:moveTo>
                  <a:pt x="574464" y="0"/>
                </a:moveTo>
                <a:lnTo>
                  <a:pt x="0" y="0"/>
                </a:lnTo>
                <a:lnTo>
                  <a:pt x="84900" y="83503"/>
                </a:lnTo>
                <a:lnTo>
                  <a:pt x="574464" y="83503"/>
                </a:lnTo>
                <a:lnTo>
                  <a:pt x="574464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3857063" y="1852774"/>
            <a:ext cx="574675" cy="83820"/>
          </a:xfrm>
          <a:custGeom>
            <a:avLst/>
            <a:gdLst/>
            <a:ahLst/>
            <a:cxnLst/>
            <a:rect l="l" t="t" r="r" b="b"/>
            <a:pathLst>
              <a:path w="574675" h="83819">
                <a:moveTo>
                  <a:pt x="0" y="0"/>
                </a:moveTo>
                <a:lnTo>
                  <a:pt x="84900" y="83503"/>
                </a:lnTo>
                <a:lnTo>
                  <a:pt x="574464" y="83503"/>
                </a:lnTo>
                <a:lnTo>
                  <a:pt x="574464" y="0"/>
                </a:lnTo>
                <a:lnTo>
                  <a:pt x="0" y="0"/>
                </a:lnTo>
              </a:path>
            </a:pathLst>
          </a:custGeom>
          <a:ln w="2816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676296" y="1706143"/>
            <a:ext cx="1062355" cy="485140"/>
          </a:xfrm>
          <a:custGeom>
            <a:avLst/>
            <a:gdLst/>
            <a:ahLst/>
            <a:cxnLst/>
            <a:rect l="l" t="t" r="r" b="b"/>
            <a:pathLst>
              <a:path w="1062354" h="485139">
                <a:moveTo>
                  <a:pt x="136226" y="0"/>
                </a:moveTo>
                <a:lnTo>
                  <a:pt x="0" y="0"/>
                </a:lnTo>
                <a:lnTo>
                  <a:pt x="734358" y="484702"/>
                </a:lnTo>
                <a:lnTo>
                  <a:pt x="1062046" y="484702"/>
                </a:lnTo>
                <a:lnTo>
                  <a:pt x="136226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676296" y="1706143"/>
            <a:ext cx="1062355" cy="485140"/>
          </a:xfrm>
          <a:custGeom>
            <a:avLst/>
            <a:gdLst/>
            <a:ahLst/>
            <a:cxnLst/>
            <a:rect l="l" t="t" r="r" b="b"/>
            <a:pathLst>
              <a:path w="1062354" h="485139">
                <a:moveTo>
                  <a:pt x="734358" y="484702"/>
                </a:moveTo>
                <a:lnTo>
                  <a:pt x="1062046" y="484702"/>
                </a:lnTo>
                <a:lnTo>
                  <a:pt x="136226" y="0"/>
                </a:lnTo>
                <a:lnTo>
                  <a:pt x="0" y="0"/>
                </a:lnTo>
                <a:lnTo>
                  <a:pt x="734358" y="484702"/>
                </a:lnTo>
              </a:path>
            </a:pathLst>
          </a:custGeom>
          <a:ln w="2806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738642" y="1997376"/>
            <a:ext cx="1741170" cy="61594"/>
          </a:xfrm>
          <a:custGeom>
            <a:avLst/>
            <a:gdLst/>
            <a:ahLst/>
            <a:cxnLst/>
            <a:rect l="l" t="t" r="r" b="b"/>
            <a:pathLst>
              <a:path w="1741170" h="61594">
                <a:moveTo>
                  <a:pt x="1741088" y="61098"/>
                </a:moveTo>
                <a:lnTo>
                  <a:pt x="1472625" y="61098"/>
                </a:lnTo>
                <a:lnTo>
                  <a:pt x="1366038" y="0"/>
                </a:lnTo>
                <a:lnTo>
                  <a:pt x="163829" y="0"/>
                </a:lnTo>
                <a:lnTo>
                  <a:pt x="163829" y="61098"/>
                </a:lnTo>
                <a:lnTo>
                  <a:pt x="0" y="61098"/>
                </a:lnTo>
              </a:path>
            </a:pathLst>
          </a:custGeom>
          <a:ln w="2818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845230" y="1223469"/>
            <a:ext cx="1143000" cy="713105"/>
          </a:xfrm>
          <a:custGeom>
            <a:avLst/>
            <a:gdLst/>
            <a:ahLst/>
            <a:cxnLst/>
            <a:rect l="l" t="t" r="r" b="b"/>
            <a:pathLst>
              <a:path w="1143000" h="713105">
                <a:moveTo>
                  <a:pt x="919902" y="0"/>
                </a:moveTo>
                <a:lnTo>
                  <a:pt x="0" y="0"/>
                </a:lnTo>
                <a:lnTo>
                  <a:pt x="130282" y="95706"/>
                </a:lnTo>
                <a:lnTo>
                  <a:pt x="163857" y="169035"/>
                </a:lnTo>
                <a:lnTo>
                  <a:pt x="199386" y="301406"/>
                </a:lnTo>
                <a:lnTo>
                  <a:pt x="199386" y="386939"/>
                </a:lnTo>
                <a:lnTo>
                  <a:pt x="151996" y="494876"/>
                </a:lnTo>
                <a:lnTo>
                  <a:pt x="106587" y="568206"/>
                </a:lnTo>
                <a:lnTo>
                  <a:pt x="23695" y="639478"/>
                </a:lnTo>
                <a:lnTo>
                  <a:pt x="94753" y="712808"/>
                </a:lnTo>
                <a:lnTo>
                  <a:pt x="931736" y="712808"/>
                </a:lnTo>
                <a:lnTo>
                  <a:pt x="1002822" y="651709"/>
                </a:lnTo>
                <a:lnTo>
                  <a:pt x="1048231" y="592639"/>
                </a:lnTo>
                <a:lnTo>
                  <a:pt x="1119289" y="482673"/>
                </a:lnTo>
                <a:lnTo>
                  <a:pt x="1142984" y="362505"/>
                </a:lnTo>
                <a:lnTo>
                  <a:pt x="1142984" y="264741"/>
                </a:lnTo>
                <a:lnTo>
                  <a:pt x="1097575" y="132370"/>
                </a:lnTo>
                <a:lnTo>
                  <a:pt x="1014655" y="46838"/>
                </a:lnTo>
                <a:lnTo>
                  <a:pt x="967293" y="12202"/>
                </a:lnTo>
                <a:lnTo>
                  <a:pt x="91990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845230" y="1223469"/>
            <a:ext cx="1143000" cy="713105"/>
          </a:xfrm>
          <a:custGeom>
            <a:avLst/>
            <a:gdLst/>
            <a:ahLst/>
            <a:cxnLst/>
            <a:rect l="l" t="t" r="r" b="b"/>
            <a:pathLst>
              <a:path w="1143000" h="713105">
                <a:moveTo>
                  <a:pt x="919902" y="0"/>
                </a:moveTo>
                <a:lnTo>
                  <a:pt x="967293" y="12202"/>
                </a:lnTo>
                <a:lnTo>
                  <a:pt x="1014655" y="46838"/>
                </a:lnTo>
                <a:lnTo>
                  <a:pt x="1097575" y="132370"/>
                </a:lnTo>
                <a:lnTo>
                  <a:pt x="1142984" y="264741"/>
                </a:lnTo>
                <a:lnTo>
                  <a:pt x="1142984" y="362505"/>
                </a:lnTo>
                <a:lnTo>
                  <a:pt x="1119289" y="482673"/>
                </a:lnTo>
                <a:lnTo>
                  <a:pt x="1048231" y="592639"/>
                </a:lnTo>
                <a:lnTo>
                  <a:pt x="1002822" y="651709"/>
                </a:lnTo>
                <a:lnTo>
                  <a:pt x="931736" y="712808"/>
                </a:lnTo>
                <a:lnTo>
                  <a:pt x="94753" y="712808"/>
                </a:lnTo>
                <a:lnTo>
                  <a:pt x="23695" y="639478"/>
                </a:lnTo>
                <a:lnTo>
                  <a:pt x="106587" y="568206"/>
                </a:lnTo>
                <a:lnTo>
                  <a:pt x="151996" y="494876"/>
                </a:lnTo>
                <a:lnTo>
                  <a:pt x="199386" y="386939"/>
                </a:lnTo>
                <a:lnTo>
                  <a:pt x="199386" y="301406"/>
                </a:lnTo>
                <a:lnTo>
                  <a:pt x="163857" y="169035"/>
                </a:lnTo>
                <a:lnTo>
                  <a:pt x="130282" y="95706"/>
                </a:lnTo>
                <a:lnTo>
                  <a:pt x="0" y="0"/>
                </a:lnTo>
                <a:lnTo>
                  <a:pt x="919902" y="0"/>
                </a:lnTo>
              </a:path>
            </a:pathLst>
          </a:custGeom>
          <a:ln w="279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0452" y="308228"/>
            <a:ext cx="7641590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Utilities – Output</a:t>
            </a:r>
            <a:r>
              <a:rPr sz="4000" spc="10" dirty="0"/>
              <a:t> </a:t>
            </a:r>
            <a:r>
              <a:rPr sz="4000" spc="-5" dirty="0"/>
              <a:t>Determination</a:t>
            </a:r>
            <a:endParaRPr sz="4000"/>
          </a:p>
        </p:txBody>
      </p:sp>
      <p:sp>
        <p:nvSpPr>
          <p:cNvPr id="3" name="object 3"/>
          <p:cNvSpPr/>
          <p:nvPr/>
        </p:nvSpPr>
        <p:spPr>
          <a:xfrm>
            <a:off x="3145535" y="1641348"/>
            <a:ext cx="2130552" cy="17510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7200" y="1807210"/>
            <a:ext cx="2526030" cy="1826895"/>
          </a:xfrm>
          <a:custGeom>
            <a:avLst/>
            <a:gdLst/>
            <a:ahLst/>
            <a:cxnLst/>
            <a:rect l="l" t="t" r="r" b="b"/>
            <a:pathLst>
              <a:path w="2526030" h="1826895">
                <a:moveTo>
                  <a:pt x="0" y="0"/>
                </a:moveTo>
                <a:lnTo>
                  <a:pt x="0" y="1456054"/>
                </a:lnTo>
                <a:lnTo>
                  <a:pt x="1999" y="1477077"/>
                </a:lnTo>
                <a:lnTo>
                  <a:pt x="17672" y="1518169"/>
                </a:lnTo>
                <a:lnTo>
                  <a:pt x="48201" y="1557784"/>
                </a:lnTo>
                <a:lnTo>
                  <a:pt x="92733" y="1595669"/>
                </a:lnTo>
                <a:lnTo>
                  <a:pt x="150416" y="1631575"/>
                </a:lnTo>
                <a:lnTo>
                  <a:pt x="220396" y="1665249"/>
                </a:lnTo>
                <a:lnTo>
                  <a:pt x="259731" y="1681171"/>
                </a:lnTo>
                <a:lnTo>
                  <a:pt x="301821" y="1696441"/>
                </a:lnTo>
                <a:lnTo>
                  <a:pt x="346559" y="1711028"/>
                </a:lnTo>
                <a:lnTo>
                  <a:pt x="393837" y="1724900"/>
                </a:lnTo>
                <a:lnTo>
                  <a:pt x="443551" y="1738027"/>
                </a:lnTo>
                <a:lnTo>
                  <a:pt x="495593" y="1750376"/>
                </a:lnTo>
                <a:lnTo>
                  <a:pt x="549857" y="1761916"/>
                </a:lnTo>
                <a:lnTo>
                  <a:pt x="606235" y="1772616"/>
                </a:lnTo>
                <a:lnTo>
                  <a:pt x="664622" y="1782445"/>
                </a:lnTo>
                <a:lnTo>
                  <a:pt x="724910" y="1791371"/>
                </a:lnTo>
                <a:lnTo>
                  <a:pt x="786994" y="1799363"/>
                </a:lnTo>
                <a:lnTo>
                  <a:pt x="850766" y="1806389"/>
                </a:lnTo>
                <a:lnTo>
                  <a:pt x="916120" y="1812419"/>
                </a:lnTo>
                <a:lnTo>
                  <a:pt x="982949" y="1817420"/>
                </a:lnTo>
                <a:lnTo>
                  <a:pt x="1051147" y="1821361"/>
                </a:lnTo>
                <a:lnTo>
                  <a:pt x="1120607" y="1824211"/>
                </a:lnTo>
                <a:lnTo>
                  <a:pt x="1191223" y="1825939"/>
                </a:lnTo>
                <a:lnTo>
                  <a:pt x="1262888" y="1826514"/>
                </a:lnTo>
                <a:lnTo>
                  <a:pt x="1334552" y="1825927"/>
                </a:lnTo>
                <a:lnTo>
                  <a:pt x="1405168" y="1824189"/>
                </a:lnTo>
                <a:lnTo>
                  <a:pt x="1474628" y="1821329"/>
                </a:lnTo>
                <a:lnTo>
                  <a:pt x="1542826" y="1817381"/>
                </a:lnTo>
                <a:lnTo>
                  <a:pt x="1609655" y="1812374"/>
                </a:lnTo>
                <a:lnTo>
                  <a:pt x="1675009" y="1806340"/>
                </a:lnTo>
                <a:lnTo>
                  <a:pt x="1738781" y="1799310"/>
                </a:lnTo>
                <a:lnTo>
                  <a:pt x="1800865" y="1791316"/>
                </a:lnTo>
                <a:lnTo>
                  <a:pt x="1861153" y="1782389"/>
                </a:lnTo>
                <a:lnTo>
                  <a:pt x="1919540" y="1772560"/>
                </a:lnTo>
                <a:lnTo>
                  <a:pt x="1975918" y="1761860"/>
                </a:lnTo>
                <a:lnTo>
                  <a:pt x="2030182" y="1750322"/>
                </a:lnTo>
                <a:lnTo>
                  <a:pt x="2082224" y="1737975"/>
                </a:lnTo>
                <a:lnTo>
                  <a:pt x="2131938" y="1724851"/>
                </a:lnTo>
                <a:lnTo>
                  <a:pt x="2179216" y="1710982"/>
                </a:lnTo>
                <a:lnTo>
                  <a:pt x="2223954" y="1696399"/>
                </a:lnTo>
                <a:lnTo>
                  <a:pt x="2266044" y="1681133"/>
                </a:lnTo>
                <a:lnTo>
                  <a:pt x="2305379" y="1665215"/>
                </a:lnTo>
                <a:lnTo>
                  <a:pt x="2341853" y="1648677"/>
                </a:lnTo>
                <a:lnTo>
                  <a:pt x="2405791" y="1613864"/>
                </a:lnTo>
                <a:lnTo>
                  <a:pt x="2457005" y="1576946"/>
                </a:lnTo>
                <a:lnTo>
                  <a:pt x="2494642" y="1538171"/>
                </a:lnTo>
                <a:lnTo>
                  <a:pt x="2517850" y="1497791"/>
                </a:lnTo>
                <a:lnTo>
                  <a:pt x="2525776" y="1456054"/>
                </a:lnTo>
                <a:lnTo>
                  <a:pt x="2525776" y="370586"/>
                </a:lnTo>
                <a:lnTo>
                  <a:pt x="1262888" y="370586"/>
                </a:lnTo>
                <a:lnTo>
                  <a:pt x="1191222" y="369999"/>
                </a:lnTo>
                <a:lnTo>
                  <a:pt x="1120605" y="368261"/>
                </a:lnTo>
                <a:lnTo>
                  <a:pt x="1051144" y="365401"/>
                </a:lnTo>
                <a:lnTo>
                  <a:pt x="982945" y="361452"/>
                </a:lnTo>
                <a:lnTo>
                  <a:pt x="916115" y="356445"/>
                </a:lnTo>
                <a:lnTo>
                  <a:pt x="850761" y="350411"/>
                </a:lnTo>
                <a:lnTo>
                  <a:pt x="786988" y="343380"/>
                </a:lnTo>
                <a:lnTo>
                  <a:pt x="724904" y="335385"/>
                </a:lnTo>
                <a:lnTo>
                  <a:pt x="664616" y="326457"/>
                </a:lnTo>
                <a:lnTo>
                  <a:pt x="606229" y="316627"/>
                </a:lnTo>
                <a:lnTo>
                  <a:pt x="549851" y="305926"/>
                </a:lnTo>
                <a:lnTo>
                  <a:pt x="495588" y="294385"/>
                </a:lnTo>
                <a:lnTo>
                  <a:pt x="443546" y="282035"/>
                </a:lnTo>
                <a:lnTo>
                  <a:pt x="393833" y="268909"/>
                </a:lnTo>
                <a:lnTo>
                  <a:pt x="346554" y="255037"/>
                </a:lnTo>
                <a:lnTo>
                  <a:pt x="301817" y="240450"/>
                </a:lnTo>
                <a:lnTo>
                  <a:pt x="259727" y="225179"/>
                </a:lnTo>
                <a:lnTo>
                  <a:pt x="220393" y="209256"/>
                </a:lnTo>
                <a:lnTo>
                  <a:pt x="183919" y="192713"/>
                </a:lnTo>
                <a:lnTo>
                  <a:pt x="119982" y="157888"/>
                </a:lnTo>
                <a:lnTo>
                  <a:pt x="68769" y="120954"/>
                </a:lnTo>
                <a:lnTo>
                  <a:pt x="31132" y="82162"/>
                </a:lnTo>
                <a:lnTo>
                  <a:pt x="7925" y="41760"/>
                </a:lnTo>
                <a:lnTo>
                  <a:pt x="1999" y="21034"/>
                </a:lnTo>
                <a:lnTo>
                  <a:pt x="0" y="0"/>
                </a:lnTo>
                <a:close/>
              </a:path>
              <a:path w="2526030" h="1826895">
                <a:moveTo>
                  <a:pt x="2525776" y="0"/>
                </a:moveTo>
                <a:lnTo>
                  <a:pt x="2517827" y="41760"/>
                </a:lnTo>
                <a:lnTo>
                  <a:pt x="2494603" y="82162"/>
                </a:lnTo>
                <a:lnTo>
                  <a:pt x="2456955" y="120954"/>
                </a:lnTo>
                <a:lnTo>
                  <a:pt x="2405736" y="157888"/>
                </a:lnTo>
                <a:lnTo>
                  <a:pt x="2341796" y="192713"/>
                </a:lnTo>
                <a:lnTo>
                  <a:pt x="2305323" y="209256"/>
                </a:lnTo>
                <a:lnTo>
                  <a:pt x="2265990" y="225179"/>
                </a:lnTo>
                <a:lnTo>
                  <a:pt x="2223902" y="240450"/>
                </a:lnTo>
                <a:lnTo>
                  <a:pt x="2179167" y="255037"/>
                </a:lnTo>
                <a:lnTo>
                  <a:pt x="2131892" y="268909"/>
                </a:lnTo>
                <a:lnTo>
                  <a:pt x="2082182" y="282035"/>
                </a:lnTo>
                <a:lnTo>
                  <a:pt x="2030144" y="294385"/>
                </a:lnTo>
                <a:lnTo>
                  <a:pt x="1975884" y="305926"/>
                </a:lnTo>
                <a:lnTo>
                  <a:pt x="1919510" y="316627"/>
                </a:lnTo>
                <a:lnTo>
                  <a:pt x="1861128" y="326457"/>
                </a:lnTo>
                <a:lnTo>
                  <a:pt x="1800844" y="335385"/>
                </a:lnTo>
                <a:lnTo>
                  <a:pt x="1738765" y="343380"/>
                </a:lnTo>
                <a:lnTo>
                  <a:pt x="1674996" y="350411"/>
                </a:lnTo>
                <a:lnTo>
                  <a:pt x="1609646" y="356445"/>
                </a:lnTo>
                <a:lnTo>
                  <a:pt x="1542820" y="361452"/>
                </a:lnTo>
                <a:lnTo>
                  <a:pt x="1474624" y="365401"/>
                </a:lnTo>
                <a:lnTo>
                  <a:pt x="1405166" y="368261"/>
                </a:lnTo>
                <a:lnTo>
                  <a:pt x="1334552" y="369999"/>
                </a:lnTo>
                <a:lnTo>
                  <a:pt x="1262888" y="370586"/>
                </a:lnTo>
                <a:lnTo>
                  <a:pt x="2525776" y="370586"/>
                </a:lnTo>
                <a:lnTo>
                  <a:pt x="2525776" y="0"/>
                </a:lnTo>
                <a:close/>
              </a:path>
            </a:pathLst>
          </a:custGeom>
          <a:solidFill>
            <a:srgbClr val="8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1436750"/>
            <a:ext cx="2526030" cy="741045"/>
          </a:xfrm>
          <a:custGeom>
            <a:avLst/>
            <a:gdLst/>
            <a:ahLst/>
            <a:cxnLst/>
            <a:rect l="l" t="t" r="r" b="b"/>
            <a:pathLst>
              <a:path w="2526030" h="741044">
                <a:moveTo>
                  <a:pt x="1262888" y="0"/>
                </a:moveTo>
                <a:lnTo>
                  <a:pt x="1191223" y="586"/>
                </a:lnTo>
                <a:lnTo>
                  <a:pt x="1120607" y="2324"/>
                </a:lnTo>
                <a:lnTo>
                  <a:pt x="1051147" y="5184"/>
                </a:lnTo>
                <a:lnTo>
                  <a:pt x="982949" y="9132"/>
                </a:lnTo>
                <a:lnTo>
                  <a:pt x="916120" y="14139"/>
                </a:lnTo>
                <a:lnTo>
                  <a:pt x="850766" y="20173"/>
                </a:lnTo>
                <a:lnTo>
                  <a:pt x="786994" y="27203"/>
                </a:lnTo>
                <a:lnTo>
                  <a:pt x="724910" y="35197"/>
                </a:lnTo>
                <a:lnTo>
                  <a:pt x="664622" y="44124"/>
                </a:lnTo>
                <a:lnTo>
                  <a:pt x="606235" y="53953"/>
                </a:lnTo>
                <a:lnTo>
                  <a:pt x="549857" y="64653"/>
                </a:lnTo>
                <a:lnTo>
                  <a:pt x="495593" y="76191"/>
                </a:lnTo>
                <a:lnTo>
                  <a:pt x="443551" y="88538"/>
                </a:lnTo>
                <a:lnTo>
                  <a:pt x="393837" y="101662"/>
                </a:lnTo>
                <a:lnTo>
                  <a:pt x="346559" y="115531"/>
                </a:lnTo>
                <a:lnTo>
                  <a:pt x="301821" y="130114"/>
                </a:lnTo>
                <a:lnTo>
                  <a:pt x="259731" y="145380"/>
                </a:lnTo>
                <a:lnTo>
                  <a:pt x="220396" y="161298"/>
                </a:lnTo>
                <a:lnTo>
                  <a:pt x="183922" y="177836"/>
                </a:lnTo>
                <a:lnTo>
                  <a:pt x="119984" y="212649"/>
                </a:lnTo>
                <a:lnTo>
                  <a:pt x="68770" y="249567"/>
                </a:lnTo>
                <a:lnTo>
                  <a:pt x="31133" y="288342"/>
                </a:lnTo>
                <a:lnTo>
                  <a:pt x="7925" y="328722"/>
                </a:lnTo>
                <a:lnTo>
                  <a:pt x="0" y="370459"/>
                </a:lnTo>
                <a:lnTo>
                  <a:pt x="1999" y="391493"/>
                </a:lnTo>
                <a:lnTo>
                  <a:pt x="17672" y="432605"/>
                </a:lnTo>
                <a:lnTo>
                  <a:pt x="48201" y="472234"/>
                </a:lnTo>
                <a:lnTo>
                  <a:pt x="92733" y="510128"/>
                </a:lnTo>
                <a:lnTo>
                  <a:pt x="150416" y="546039"/>
                </a:lnTo>
                <a:lnTo>
                  <a:pt x="220396" y="579715"/>
                </a:lnTo>
                <a:lnTo>
                  <a:pt x="259731" y="595638"/>
                </a:lnTo>
                <a:lnTo>
                  <a:pt x="301821" y="610909"/>
                </a:lnTo>
                <a:lnTo>
                  <a:pt x="346559" y="625496"/>
                </a:lnTo>
                <a:lnTo>
                  <a:pt x="393837" y="639368"/>
                </a:lnTo>
                <a:lnTo>
                  <a:pt x="443551" y="652494"/>
                </a:lnTo>
                <a:lnTo>
                  <a:pt x="495593" y="664844"/>
                </a:lnTo>
                <a:lnTo>
                  <a:pt x="549857" y="676385"/>
                </a:lnTo>
                <a:lnTo>
                  <a:pt x="606235" y="687086"/>
                </a:lnTo>
                <a:lnTo>
                  <a:pt x="664622" y="696916"/>
                </a:lnTo>
                <a:lnTo>
                  <a:pt x="724910" y="705844"/>
                </a:lnTo>
                <a:lnTo>
                  <a:pt x="786994" y="713839"/>
                </a:lnTo>
                <a:lnTo>
                  <a:pt x="850766" y="720870"/>
                </a:lnTo>
                <a:lnTo>
                  <a:pt x="916120" y="726904"/>
                </a:lnTo>
                <a:lnTo>
                  <a:pt x="982949" y="731911"/>
                </a:lnTo>
                <a:lnTo>
                  <a:pt x="1051147" y="735860"/>
                </a:lnTo>
                <a:lnTo>
                  <a:pt x="1120607" y="738720"/>
                </a:lnTo>
                <a:lnTo>
                  <a:pt x="1191223" y="740458"/>
                </a:lnTo>
                <a:lnTo>
                  <a:pt x="1262888" y="741045"/>
                </a:lnTo>
                <a:lnTo>
                  <a:pt x="1334552" y="740458"/>
                </a:lnTo>
                <a:lnTo>
                  <a:pt x="1405168" y="738720"/>
                </a:lnTo>
                <a:lnTo>
                  <a:pt x="1474628" y="735860"/>
                </a:lnTo>
                <a:lnTo>
                  <a:pt x="1542826" y="731911"/>
                </a:lnTo>
                <a:lnTo>
                  <a:pt x="1609655" y="726904"/>
                </a:lnTo>
                <a:lnTo>
                  <a:pt x="1675009" y="720870"/>
                </a:lnTo>
                <a:lnTo>
                  <a:pt x="1738781" y="713839"/>
                </a:lnTo>
                <a:lnTo>
                  <a:pt x="1800865" y="705844"/>
                </a:lnTo>
                <a:lnTo>
                  <a:pt x="1861153" y="696916"/>
                </a:lnTo>
                <a:lnTo>
                  <a:pt x="1919540" y="687086"/>
                </a:lnTo>
                <a:lnTo>
                  <a:pt x="1975918" y="676385"/>
                </a:lnTo>
                <a:lnTo>
                  <a:pt x="2030182" y="664844"/>
                </a:lnTo>
                <a:lnTo>
                  <a:pt x="2082224" y="652494"/>
                </a:lnTo>
                <a:lnTo>
                  <a:pt x="2131938" y="639368"/>
                </a:lnTo>
                <a:lnTo>
                  <a:pt x="2179216" y="625496"/>
                </a:lnTo>
                <a:lnTo>
                  <a:pt x="2223954" y="610909"/>
                </a:lnTo>
                <a:lnTo>
                  <a:pt x="2266044" y="595638"/>
                </a:lnTo>
                <a:lnTo>
                  <a:pt x="2305379" y="579715"/>
                </a:lnTo>
                <a:lnTo>
                  <a:pt x="2341853" y="563172"/>
                </a:lnTo>
                <a:lnTo>
                  <a:pt x="2405791" y="528347"/>
                </a:lnTo>
                <a:lnTo>
                  <a:pt x="2457005" y="491413"/>
                </a:lnTo>
                <a:lnTo>
                  <a:pt x="2494642" y="452621"/>
                </a:lnTo>
                <a:lnTo>
                  <a:pt x="2517850" y="412219"/>
                </a:lnTo>
                <a:lnTo>
                  <a:pt x="2525776" y="370459"/>
                </a:lnTo>
                <a:lnTo>
                  <a:pt x="2523776" y="349437"/>
                </a:lnTo>
                <a:lnTo>
                  <a:pt x="2508103" y="308347"/>
                </a:lnTo>
                <a:lnTo>
                  <a:pt x="2477574" y="268738"/>
                </a:lnTo>
                <a:lnTo>
                  <a:pt x="2433042" y="230860"/>
                </a:lnTo>
                <a:lnTo>
                  <a:pt x="2375359" y="194964"/>
                </a:lnTo>
                <a:lnTo>
                  <a:pt x="2305379" y="161298"/>
                </a:lnTo>
                <a:lnTo>
                  <a:pt x="2266044" y="145380"/>
                </a:lnTo>
                <a:lnTo>
                  <a:pt x="2223954" y="130114"/>
                </a:lnTo>
                <a:lnTo>
                  <a:pt x="2179216" y="115531"/>
                </a:lnTo>
                <a:lnTo>
                  <a:pt x="2131938" y="101662"/>
                </a:lnTo>
                <a:lnTo>
                  <a:pt x="2082224" y="88538"/>
                </a:lnTo>
                <a:lnTo>
                  <a:pt x="2030182" y="76191"/>
                </a:lnTo>
                <a:lnTo>
                  <a:pt x="1975918" y="64653"/>
                </a:lnTo>
                <a:lnTo>
                  <a:pt x="1919540" y="53953"/>
                </a:lnTo>
                <a:lnTo>
                  <a:pt x="1861153" y="44124"/>
                </a:lnTo>
                <a:lnTo>
                  <a:pt x="1800865" y="35197"/>
                </a:lnTo>
                <a:lnTo>
                  <a:pt x="1738781" y="27203"/>
                </a:lnTo>
                <a:lnTo>
                  <a:pt x="1675009" y="20173"/>
                </a:lnTo>
                <a:lnTo>
                  <a:pt x="1609655" y="14139"/>
                </a:lnTo>
                <a:lnTo>
                  <a:pt x="1542826" y="9132"/>
                </a:lnTo>
                <a:lnTo>
                  <a:pt x="1474628" y="5184"/>
                </a:lnTo>
                <a:lnTo>
                  <a:pt x="1405168" y="2324"/>
                </a:lnTo>
                <a:lnTo>
                  <a:pt x="1334552" y="586"/>
                </a:lnTo>
                <a:lnTo>
                  <a:pt x="1262888" y="0"/>
                </a:lnTo>
                <a:close/>
              </a:path>
            </a:pathLst>
          </a:custGeom>
          <a:solidFill>
            <a:srgbClr val="B366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112926" y="1487678"/>
            <a:ext cx="1229995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58445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Output 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r>
              <a:rPr sz="1800" spc="-1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40053" y="2359405"/>
            <a:ext cx="1150620" cy="1108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 indent="-1270" algn="ctr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Output 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type: 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Partner</a:t>
            </a:r>
            <a:r>
              <a:rPr sz="1200" spc="-1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Function  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Transmission  Medium</a:t>
            </a:r>
            <a:endParaRPr sz="1200">
              <a:latin typeface="Arial"/>
              <a:cs typeface="Arial"/>
            </a:endParaRPr>
          </a:p>
          <a:p>
            <a:pPr marL="234950" marR="229870" indent="1905" algn="ctr">
              <a:lnSpc>
                <a:spcPct val="100000"/>
              </a:lnSpc>
            </a:pP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Time  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Lan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ag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362705" y="2326766"/>
            <a:ext cx="120332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97180"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Output  </a:t>
            </a:r>
            <a:r>
              <a:rPr sz="1400" b="1" spc="-10" dirty="0">
                <a:latin typeface="Arial"/>
                <a:cs typeface="Arial"/>
              </a:rPr>
              <a:t>d</a:t>
            </a:r>
            <a:r>
              <a:rPr sz="1400" b="1" dirty="0">
                <a:latin typeface="Arial"/>
                <a:cs typeface="Arial"/>
              </a:rPr>
              <a:t>eterm</a:t>
            </a:r>
            <a:r>
              <a:rPr sz="1400" b="1" spc="5" dirty="0">
                <a:latin typeface="Arial"/>
                <a:cs typeface="Arial"/>
              </a:rPr>
              <a:t>i</a:t>
            </a:r>
            <a:r>
              <a:rPr sz="1400" b="1" spc="-10" dirty="0">
                <a:latin typeface="Arial"/>
                <a:cs typeface="Arial"/>
              </a:rPr>
              <a:t>n</a:t>
            </a:r>
            <a:r>
              <a:rPr sz="1400" b="1" dirty="0">
                <a:latin typeface="Arial"/>
                <a:cs typeface="Arial"/>
              </a:rPr>
              <a:t>at</a:t>
            </a:r>
            <a:r>
              <a:rPr sz="1400" b="1" spc="-10" dirty="0">
                <a:latin typeface="Arial"/>
                <a:cs typeface="Arial"/>
              </a:rPr>
              <a:t>io</a:t>
            </a:r>
            <a:r>
              <a:rPr sz="1400" b="1" dirty="0">
                <a:latin typeface="Arial"/>
                <a:cs typeface="Arial"/>
              </a:rPr>
              <a:t>n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399532" y="1609344"/>
            <a:ext cx="2994660" cy="17967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557773" y="1789938"/>
            <a:ext cx="2511425" cy="1459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8790">
              <a:lnSpc>
                <a:spcPct val="100000"/>
              </a:lnSpc>
            </a:pPr>
            <a:r>
              <a:rPr sz="2000" dirty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2000" spc="-1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endParaRPr sz="2000"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600"/>
              </a:spcBef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Output </a:t>
            </a: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type: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r>
              <a:rPr sz="1400" spc="-1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confirmation  </a:t>
            </a: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Transmission:</a:t>
            </a:r>
            <a:r>
              <a:rPr sz="1400" spc="-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Print</a:t>
            </a:r>
            <a:endParaRPr sz="1400">
              <a:latin typeface="Arial"/>
              <a:cs typeface="Arial"/>
            </a:endParaRPr>
          </a:p>
          <a:p>
            <a:pPr marL="212090" marR="205104" algn="ctr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Partner Function: SP</a:t>
            </a:r>
            <a:r>
              <a:rPr sz="1400" spc="-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1000  </a:t>
            </a:r>
            <a:r>
              <a:rPr sz="1400" spc="-15" dirty="0">
                <a:solidFill>
                  <a:srgbClr val="FFFFFF"/>
                </a:solidFill>
                <a:latin typeface="Arial"/>
                <a:cs typeface="Arial"/>
              </a:rPr>
              <a:t>Time: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Immediately  </a:t>
            </a: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Language:</a:t>
            </a:r>
            <a:r>
              <a:rPr sz="1400" spc="-1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E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994400" y="3505200"/>
            <a:ext cx="1457325" cy="570230"/>
          </a:xfrm>
          <a:custGeom>
            <a:avLst/>
            <a:gdLst/>
            <a:ahLst/>
            <a:cxnLst/>
            <a:rect l="l" t="t" r="r" b="b"/>
            <a:pathLst>
              <a:path w="1457325" h="570229">
                <a:moveTo>
                  <a:pt x="1457325" y="389381"/>
                </a:moveTo>
                <a:lnTo>
                  <a:pt x="0" y="389381"/>
                </a:lnTo>
                <a:lnTo>
                  <a:pt x="728726" y="569849"/>
                </a:lnTo>
                <a:lnTo>
                  <a:pt x="1457325" y="389381"/>
                </a:lnTo>
                <a:close/>
              </a:path>
              <a:path w="1457325" h="570229">
                <a:moveTo>
                  <a:pt x="1190117" y="0"/>
                </a:moveTo>
                <a:lnTo>
                  <a:pt x="267208" y="0"/>
                </a:lnTo>
                <a:lnTo>
                  <a:pt x="267208" y="389381"/>
                </a:lnTo>
                <a:lnTo>
                  <a:pt x="1190117" y="389381"/>
                </a:lnTo>
                <a:lnTo>
                  <a:pt x="1190117" y="0"/>
                </a:lnTo>
                <a:close/>
              </a:path>
            </a:pathLst>
          </a:custGeom>
          <a:solidFill>
            <a:srgbClr val="000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519164" y="3478657"/>
            <a:ext cx="483234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RI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654800" y="4303880"/>
            <a:ext cx="40640" cy="0"/>
          </a:xfrm>
          <a:custGeom>
            <a:avLst/>
            <a:gdLst/>
            <a:ahLst/>
            <a:cxnLst/>
            <a:rect l="l" t="t" r="r" b="b"/>
            <a:pathLst>
              <a:path w="40640">
                <a:moveTo>
                  <a:pt x="0" y="0"/>
                </a:moveTo>
                <a:lnTo>
                  <a:pt x="40464" y="0"/>
                </a:lnTo>
              </a:path>
            </a:pathLst>
          </a:custGeom>
          <a:ln w="43479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54800" y="4282140"/>
            <a:ext cx="40640" cy="43815"/>
          </a:xfrm>
          <a:custGeom>
            <a:avLst/>
            <a:gdLst/>
            <a:ahLst/>
            <a:cxnLst/>
            <a:rect l="l" t="t" r="r" b="b"/>
            <a:pathLst>
              <a:path w="40640" h="43814">
                <a:moveTo>
                  <a:pt x="0" y="43479"/>
                </a:moveTo>
                <a:lnTo>
                  <a:pt x="40464" y="43479"/>
                </a:lnTo>
                <a:lnTo>
                  <a:pt x="40464" y="0"/>
                </a:lnTo>
                <a:lnTo>
                  <a:pt x="0" y="0"/>
                </a:lnTo>
                <a:lnTo>
                  <a:pt x="0" y="43479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707399" y="4238659"/>
            <a:ext cx="0" cy="55880"/>
          </a:xfrm>
          <a:custGeom>
            <a:avLst/>
            <a:gdLst/>
            <a:ahLst/>
            <a:cxnLst/>
            <a:rect l="l" t="t" r="r" b="b"/>
            <a:pathLst>
              <a:path h="55879">
                <a:moveTo>
                  <a:pt x="0" y="0"/>
                </a:moveTo>
                <a:lnTo>
                  <a:pt x="0" y="55337"/>
                </a:lnTo>
              </a:path>
            </a:pathLst>
          </a:custGeom>
          <a:ln w="48557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83120" y="4238659"/>
            <a:ext cx="48895" cy="55880"/>
          </a:xfrm>
          <a:custGeom>
            <a:avLst/>
            <a:gdLst/>
            <a:ahLst/>
            <a:cxnLst/>
            <a:rect l="l" t="t" r="r" b="b"/>
            <a:pathLst>
              <a:path w="48895" h="55879">
                <a:moveTo>
                  <a:pt x="0" y="55337"/>
                </a:moveTo>
                <a:lnTo>
                  <a:pt x="48557" y="55337"/>
                </a:lnTo>
                <a:lnTo>
                  <a:pt x="48557" y="0"/>
                </a:lnTo>
                <a:lnTo>
                  <a:pt x="0" y="0"/>
                </a:lnTo>
                <a:lnTo>
                  <a:pt x="0" y="5533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689217" y="4250563"/>
            <a:ext cx="26670" cy="19685"/>
          </a:xfrm>
          <a:custGeom>
            <a:avLst/>
            <a:gdLst/>
            <a:ahLst/>
            <a:cxnLst/>
            <a:rect l="l" t="t" r="r" b="b"/>
            <a:pathLst>
              <a:path w="26670" h="19685">
                <a:moveTo>
                  <a:pt x="0" y="0"/>
                </a:moveTo>
                <a:lnTo>
                  <a:pt x="14731" y="19685"/>
                </a:lnTo>
                <a:lnTo>
                  <a:pt x="26288" y="203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509131" y="4331582"/>
            <a:ext cx="206375" cy="0"/>
          </a:xfrm>
          <a:custGeom>
            <a:avLst/>
            <a:gdLst/>
            <a:ahLst/>
            <a:cxnLst/>
            <a:rect l="l" t="t" r="r" b="b"/>
            <a:pathLst>
              <a:path w="206375">
                <a:moveTo>
                  <a:pt x="0" y="0"/>
                </a:moveTo>
                <a:lnTo>
                  <a:pt x="206362" y="0"/>
                </a:lnTo>
              </a:path>
            </a:pathLst>
          </a:custGeom>
          <a:ln w="35573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509131" y="4313795"/>
            <a:ext cx="206375" cy="36195"/>
          </a:xfrm>
          <a:custGeom>
            <a:avLst/>
            <a:gdLst/>
            <a:ahLst/>
            <a:cxnLst/>
            <a:rect l="l" t="t" r="r" b="b"/>
            <a:pathLst>
              <a:path w="206375" h="36195">
                <a:moveTo>
                  <a:pt x="0" y="35573"/>
                </a:moveTo>
                <a:lnTo>
                  <a:pt x="206362" y="35573"/>
                </a:lnTo>
                <a:lnTo>
                  <a:pt x="206362" y="0"/>
                </a:lnTo>
                <a:lnTo>
                  <a:pt x="0" y="0"/>
                </a:lnTo>
                <a:lnTo>
                  <a:pt x="0" y="3557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821298" y="4997577"/>
            <a:ext cx="2197735" cy="717550"/>
          </a:xfrm>
          <a:custGeom>
            <a:avLst/>
            <a:gdLst/>
            <a:ahLst/>
            <a:cxnLst/>
            <a:rect l="l" t="t" r="r" b="b"/>
            <a:pathLst>
              <a:path w="2197734" h="717550">
                <a:moveTo>
                  <a:pt x="0" y="0"/>
                </a:moveTo>
                <a:lnTo>
                  <a:pt x="411734" y="466725"/>
                </a:lnTo>
                <a:lnTo>
                  <a:pt x="579627" y="624662"/>
                </a:lnTo>
                <a:lnTo>
                  <a:pt x="980185" y="624662"/>
                </a:lnTo>
                <a:lnTo>
                  <a:pt x="1143127" y="717423"/>
                </a:lnTo>
                <a:lnTo>
                  <a:pt x="2057527" y="707555"/>
                </a:lnTo>
                <a:lnTo>
                  <a:pt x="1917953" y="605917"/>
                </a:lnTo>
                <a:lnTo>
                  <a:pt x="2160778" y="597027"/>
                </a:lnTo>
                <a:lnTo>
                  <a:pt x="2197227" y="521081"/>
                </a:lnTo>
                <a:lnTo>
                  <a:pt x="2168779" y="419354"/>
                </a:lnTo>
                <a:lnTo>
                  <a:pt x="1498092" y="9906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13171" y="4932426"/>
            <a:ext cx="495934" cy="594995"/>
          </a:xfrm>
          <a:custGeom>
            <a:avLst/>
            <a:gdLst/>
            <a:ahLst/>
            <a:cxnLst/>
            <a:rect l="l" t="t" r="r" b="b"/>
            <a:pathLst>
              <a:path w="495935" h="594995">
                <a:moveTo>
                  <a:pt x="0" y="0"/>
                </a:moveTo>
                <a:lnTo>
                  <a:pt x="0" y="159766"/>
                </a:lnTo>
                <a:lnTo>
                  <a:pt x="486537" y="594868"/>
                </a:lnTo>
                <a:lnTo>
                  <a:pt x="495680" y="424180"/>
                </a:lnTo>
                <a:lnTo>
                  <a:pt x="0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13171" y="4932426"/>
            <a:ext cx="495934" cy="594995"/>
          </a:xfrm>
          <a:custGeom>
            <a:avLst/>
            <a:gdLst/>
            <a:ahLst/>
            <a:cxnLst/>
            <a:rect l="l" t="t" r="r" b="b"/>
            <a:pathLst>
              <a:path w="495935" h="594995">
                <a:moveTo>
                  <a:pt x="495680" y="424180"/>
                </a:moveTo>
                <a:lnTo>
                  <a:pt x="486537" y="594868"/>
                </a:lnTo>
                <a:lnTo>
                  <a:pt x="0" y="159766"/>
                </a:lnTo>
                <a:lnTo>
                  <a:pt x="0" y="0"/>
                </a:lnTo>
                <a:lnTo>
                  <a:pt x="495680" y="42418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298691" y="5390896"/>
            <a:ext cx="1414780" cy="140335"/>
          </a:xfrm>
          <a:custGeom>
            <a:avLst/>
            <a:gdLst/>
            <a:ahLst/>
            <a:cxnLst/>
            <a:rect l="l" t="t" r="r" b="b"/>
            <a:pathLst>
              <a:path w="1414779" h="140335">
                <a:moveTo>
                  <a:pt x="0" y="140334"/>
                </a:moveTo>
                <a:lnTo>
                  <a:pt x="1414271" y="140334"/>
                </a:lnTo>
                <a:lnTo>
                  <a:pt x="1414271" y="0"/>
                </a:lnTo>
                <a:lnTo>
                  <a:pt x="0" y="0"/>
                </a:lnTo>
                <a:lnTo>
                  <a:pt x="0" y="14033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298691" y="5343474"/>
            <a:ext cx="1414780" cy="187960"/>
          </a:xfrm>
          <a:custGeom>
            <a:avLst/>
            <a:gdLst/>
            <a:ahLst/>
            <a:cxnLst/>
            <a:rect l="l" t="t" r="r" b="b"/>
            <a:pathLst>
              <a:path w="1414779" h="187960">
                <a:moveTo>
                  <a:pt x="0" y="187756"/>
                </a:moveTo>
                <a:lnTo>
                  <a:pt x="1414271" y="187756"/>
                </a:lnTo>
                <a:lnTo>
                  <a:pt x="1414271" y="0"/>
                </a:lnTo>
                <a:lnTo>
                  <a:pt x="0" y="0"/>
                </a:lnTo>
                <a:lnTo>
                  <a:pt x="0" y="187756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95009" y="4477765"/>
            <a:ext cx="485775" cy="911225"/>
          </a:xfrm>
          <a:custGeom>
            <a:avLst/>
            <a:gdLst/>
            <a:ahLst/>
            <a:cxnLst/>
            <a:rect l="l" t="t" r="r" b="b"/>
            <a:pathLst>
              <a:path w="485775" h="911225">
                <a:moveTo>
                  <a:pt x="0" y="0"/>
                </a:moveTo>
                <a:lnTo>
                  <a:pt x="0" y="500125"/>
                </a:lnTo>
                <a:lnTo>
                  <a:pt x="485520" y="911097"/>
                </a:lnTo>
                <a:lnTo>
                  <a:pt x="485520" y="38430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795009" y="4477765"/>
            <a:ext cx="485775" cy="911225"/>
          </a:xfrm>
          <a:custGeom>
            <a:avLst/>
            <a:gdLst/>
            <a:ahLst/>
            <a:cxnLst/>
            <a:rect l="l" t="t" r="r" b="b"/>
            <a:pathLst>
              <a:path w="485775" h="911225">
                <a:moveTo>
                  <a:pt x="485520" y="911097"/>
                </a:moveTo>
                <a:lnTo>
                  <a:pt x="0" y="500125"/>
                </a:lnTo>
                <a:lnTo>
                  <a:pt x="0" y="0"/>
                </a:lnTo>
                <a:lnTo>
                  <a:pt x="485520" y="384301"/>
                </a:lnTo>
                <a:lnTo>
                  <a:pt x="485520" y="911097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280530" y="4861229"/>
            <a:ext cx="1471295" cy="530225"/>
          </a:xfrm>
          <a:custGeom>
            <a:avLst/>
            <a:gdLst/>
            <a:ahLst/>
            <a:cxnLst/>
            <a:rect l="l" t="t" r="r" b="b"/>
            <a:pathLst>
              <a:path w="1471295" h="530225">
                <a:moveTo>
                  <a:pt x="0" y="529666"/>
                </a:moveTo>
                <a:lnTo>
                  <a:pt x="1470913" y="529666"/>
                </a:lnTo>
                <a:lnTo>
                  <a:pt x="1470913" y="0"/>
                </a:lnTo>
                <a:lnTo>
                  <a:pt x="0" y="0"/>
                </a:lnTo>
                <a:lnTo>
                  <a:pt x="0" y="5296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280530" y="4861229"/>
            <a:ext cx="1471295" cy="530225"/>
          </a:xfrm>
          <a:custGeom>
            <a:avLst/>
            <a:gdLst/>
            <a:ahLst/>
            <a:cxnLst/>
            <a:rect l="l" t="t" r="r" b="b"/>
            <a:pathLst>
              <a:path w="1471295" h="530225">
                <a:moveTo>
                  <a:pt x="0" y="529666"/>
                </a:moveTo>
                <a:lnTo>
                  <a:pt x="1470913" y="529666"/>
                </a:lnTo>
                <a:lnTo>
                  <a:pt x="1470913" y="0"/>
                </a:lnTo>
                <a:lnTo>
                  <a:pt x="0" y="0"/>
                </a:lnTo>
                <a:lnTo>
                  <a:pt x="0" y="529666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320406" y="5074665"/>
            <a:ext cx="403225" cy="111125"/>
          </a:xfrm>
          <a:custGeom>
            <a:avLst/>
            <a:gdLst/>
            <a:ahLst/>
            <a:cxnLst/>
            <a:rect l="l" t="t" r="r" b="b"/>
            <a:pathLst>
              <a:path w="403225" h="111125">
                <a:moveTo>
                  <a:pt x="0" y="110616"/>
                </a:moveTo>
                <a:lnTo>
                  <a:pt x="402615" y="110616"/>
                </a:lnTo>
                <a:lnTo>
                  <a:pt x="402615" y="0"/>
                </a:lnTo>
                <a:lnTo>
                  <a:pt x="0" y="0"/>
                </a:lnTo>
                <a:lnTo>
                  <a:pt x="0" y="1106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320406" y="4987645"/>
            <a:ext cx="403225" cy="198120"/>
          </a:xfrm>
          <a:custGeom>
            <a:avLst/>
            <a:gdLst/>
            <a:ahLst/>
            <a:cxnLst/>
            <a:rect l="l" t="t" r="r" b="b"/>
            <a:pathLst>
              <a:path w="403225" h="198120">
                <a:moveTo>
                  <a:pt x="0" y="197637"/>
                </a:moveTo>
                <a:lnTo>
                  <a:pt x="402615" y="197637"/>
                </a:lnTo>
                <a:lnTo>
                  <a:pt x="402615" y="0"/>
                </a:lnTo>
                <a:lnTo>
                  <a:pt x="0" y="0"/>
                </a:lnTo>
                <a:lnTo>
                  <a:pt x="0" y="19763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328534" y="5118100"/>
            <a:ext cx="382905" cy="2540"/>
          </a:xfrm>
          <a:custGeom>
            <a:avLst/>
            <a:gdLst/>
            <a:ahLst/>
            <a:cxnLst/>
            <a:rect l="l" t="t" r="r" b="b"/>
            <a:pathLst>
              <a:path w="382904" h="2539">
                <a:moveTo>
                  <a:pt x="0" y="0"/>
                </a:moveTo>
                <a:lnTo>
                  <a:pt x="382397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403465" y="5052948"/>
            <a:ext cx="1905" cy="122555"/>
          </a:xfrm>
          <a:custGeom>
            <a:avLst/>
            <a:gdLst/>
            <a:ahLst/>
            <a:cxnLst/>
            <a:rect l="l" t="t" r="r" b="b"/>
            <a:pathLst>
              <a:path w="1904" h="122554">
                <a:moveTo>
                  <a:pt x="0" y="0"/>
                </a:moveTo>
                <a:lnTo>
                  <a:pt x="1904" y="122555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516748" y="5052948"/>
            <a:ext cx="2540" cy="122555"/>
          </a:xfrm>
          <a:custGeom>
            <a:avLst/>
            <a:gdLst/>
            <a:ahLst/>
            <a:cxnLst/>
            <a:rect l="l" t="t" r="r" b="b"/>
            <a:pathLst>
              <a:path w="2540" h="122554">
                <a:moveTo>
                  <a:pt x="0" y="0"/>
                </a:moveTo>
                <a:lnTo>
                  <a:pt x="2031" y="122555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17841" y="5052948"/>
            <a:ext cx="2540" cy="122555"/>
          </a:xfrm>
          <a:custGeom>
            <a:avLst/>
            <a:gdLst/>
            <a:ahLst/>
            <a:cxnLst/>
            <a:rect l="l" t="t" r="r" b="b"/>
            <a:pathLst>
              <a:path w="2540" h="122554">
                <a:moveTo>
                  <a:pt x="0" y="0"/>
                </a:moveTo>
                <a:lnTo>
                  <a:pt x="2031" y="122555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320406" y="4977824"/>
            <a:ext cx="403225" cy="97155"/>
          </a:xfrm>
          <a:custGeom>
            <a:avLst/>
            <a:gdLst/>
            <a:ahLst/>
            <a:cxnLst/>
            <a:rect l="l" t="t" r="r" b="b"/>
            <a:pathLst>
              <a:path w="403225" h="97154">
                <a:moveTo>
                  <a:pt x="0" y="96841"/>
                </a:moveTo>
                <a:lnTo>
                  <a:pt x="402615" y="96841"/>
                </a:lnTo>
                <a:lnTo>
                  <a:pt x="402615" y="0"/>
                </a:lnTo>
                <a:lnTo>
                  <a:pt x="0" y="0"/>
                </a:lnTo>
                <a:lnTo>
                  <a:pt x="0" y="968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20406" y="4977824"/>
            <a:ext cx="403225" cy="97155"/>
          </a:xfrm>
          <a:custGeom>
            <a:avLst/>
            <a:gdLst/>
            <a:ahLst/>
            <a:cxnLst/>
            <a:rect l="l" t="t" r="r" b="b"/>
            <a:pathLst>
              <a:path w="403225" h="97154">
                <a:moveTo>
                  <a:pt x="0" y="96841"/>
                </a:moveTo>
                <a:lnTo>
                  <a:pt x="402615" y="96841"/>
                </a:lnTo>
                <a:lnTo>
                  <a:pt x="402615" y="0"/>
                </a:lnTo>
                <a:lnTo>
                  <a:pt x="0" y="0"/>
                </a:lnTo>
                <a:lnTo>
                  <a:pt x="0" y="96841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494396" y="4997540"/>
            <a:ext cx="210820" cy="57785"/>
          </a:xfrm>
          <a:custGeom>
            <a:avLst/>
            <a:gdLst/>
            <a:ahLst/>
            <a:cxnLst/>
            <a:rect l="l" t="t" r="r" b="b"/>
            <a:pathLst>
              <a:path w="210820" h="57785">
                <a:moveTo>
                  <a:pt x="0" y="57313"/>
                </a:moveTo>
                <a:lnTo>
                  <a:pt x="210413" y="57313"/>
                </a:lnTo>
                <a:lnTo>
                  <a:pt x="210413" y="0"/>
                </a:lnTo>
                <a:lnTo>
                  <a:pt x="0" y="0"/>
                </a:lnTo>
                <a:lnTo>
                  <a:pt x="0" y="57313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494396" y="4997540"/>
            <a:ext cx="210820" cy="57785"/>
          </a:xfrm>
          <a:custGeom>
            <a:avLst/>
            <a:gdLst/>
            <a:ahLst/>
            <a:cxnLst/>
            <a:rect l="l" t="t" r="r" b="b"/>
            <a:pathLst>
              <a:path w="210820" h="57785">
                <a:moveTo>
                  <a:pt x="0" y="57313"/>
                </a:moveTo>
                <a:lnTo>
                  <a:pt x="210413" y="57313"/>
                </a:lnTo>
                <a:lnTo>
                  <a:pt x="210413" y="0"/>
                </a:lnTo>
                <a:lnTo>
                  <a:pt x="0" y="0"/>
                </a:lnTo>
                <a:lnTo>
                  <a:pt x="0" y="573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346822" y="4997577"/>
            <a:ext cx="69215" cy="69215"/>
          </a:xfrm>
          <a:custGeom>
            <a:avLst/>
            <a:gdLst/>
            <a:ahLst/>
            <a:cxnLst/>
            <a:rect l="l" t="t" r="r" b="b"/>
            <a:pathLst>
              <a:path w="69215" h="69214">
                <a:moveTo>
                  <a:pt x="33781" y="0"/>
                </a:moveTo>
                <a:lnTo>
                  <a:pt x="9144" y="9906"/>
                </a:lnTo>
                <a:lnTo>
                  <a:pt x="0" y="34543"/>
                </a:lnTo>
                <a:lnTo>
                  <a:pt x="9144" y="58293"/>
                </a:lnTo>
                <a:lnTo>
                  <a:pt x="20447" y="66167"/>
                </a:lnTo>
                <a:lnTo>
                  <a:pt x="33781" y="69215"/>
                </a:lnTo>
                <a:lnTo>
                  <a:pt x="48132" y="66167"/>
                </a:lnTo>
                <a:lnTo>
                  <a:pt x="58420" y="58293"/>
                </a:lnTo>
                <a:lnTo>
                  <a:pt x="66675" y="47498"/>
                </a:lnTo>
                <a:lnTo>
                  <a:pt x="68706" y="34543"/>
                </a:lnTo>
                <a:lnTo>
                  <a:pt x="58420" y="9906"/>
                </a:lnTo>
                <a:lnTo>
                  <a:pt x="337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346822" y="4997577"/>
            <a:ext cx="69215" cy="69215"/>
          </a:xfrm>
          <a:custGeom>
            <a:avLst/>
            <a:gdLst/>
            <a:ahLst/>
            <a:cxnLst/>
            <a:rect l="l" t="t" r="r" b="b"/>
            <a:pathLst>
              <a:path w="69215" h="69214">
                <a:moveTo>
                  <a:pt x="0" y="34543"/>
                </a:moveTo>
                <a:lnTo>
                  <a:pt x="9144" y="9906"/>
                </a:lnTo>
                <a:lnTo>
                  <a:pt x="33781" y="0"/>
                </a:lnTo>
                <a:lnTo>
                  <a:pt x="58420" y="9906"/>
                </a:lnTo>
                <a:lnTo>
                  <a:pt x="68706" y="34543"/>
                </a:lnTo>
                <a:lnTo>
                  <a:pt x="66675" y="47498"/>
                </a:lnTo>
                <a:lnTo>
                  <a:pt x="58420" y="58293"/>
                </a:lnTo>
                <a:lnTo>
                  <a:pt x="48132" y="66167"/>
                </a:lnTo>
                <a:lnTo>
                  <a:pt x="33781" y="69215"/>
                </a:lnTo>
                <a:lnTo>
                  <a:pt x="20447" y="66167"/>
                </a:lnTo>
                <a:lnTo>
                  <a:pt x="9144" y="58293"/>
                </a:lnTo>
                <a:lnTo>
                  <a:pt x="0" y="34543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346822" y="5090414"/>
            <a:ext cx="36830" cy="2540"/>
          </a:xfrm>
          <a:custGeom>
            <a:avLst/>
            <a:gdLst/>
            <a:ahLst/>
            <a:cxnLst/>
            <a:rect l="l" t="t" r="r" b="b"/>
            <a:pathLst>
              <a:path w="36829" h="2539">
                <a:moveTo>
                  <a:pt x="0" y="0"/>
                </a:moveTo>
                <a:lnTo>
                  <a:pt x="36322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439786" y="5090414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481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551166" y="5090414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353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654290" y="5090414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480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346822" y="5145785"/>
            <a:ext cx="36830" cy="2540"/>
          </a:xfrm>
          <a:custGeom>
            <a:avLst/>
            <a:gdLst/>
            <a:ahLst/>
            <a:cxnLst/>
            <a:rect l="l" t="t" r="r" b="b"/>
            <a:pathLst>
              <a:path w="36829" h="2539">
                <a:moveTo>
                  <a:pt x="0" y="0"/>
                </a:moveTo>
                <a:lnTo>
                  <a:pt x="36322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439786" y="5145785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481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551166" y="5145785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353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54290" y="5145785"/>
            <a:ext cx="38735" cy="2540"/>
          </a:xfrm>
          <a:custGeom>
            <a:avLst/>
            <a:gdLst/>
            <a:ahLst/>
            <a:cxnLst/>
            <a:rect l="l" t="t" r="r" b="b"/>
            <a:pathLst>
              <a:path w="38734" h="2539">
                <a:moveTo>
                  <a:pt x="0" y="0"/>
                </a:moveTo>
                <a:lnTo>
                  <a:pt x="38480" y="203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466713" y="5072672"/>
            <a:ext cx="828040" cy="245110"/>
          </a:xfrm>
          <a:custGeom>
            <a:avLst/>
            <a:gdLst/>
            <a:ahLst/>
            <a:cxnLst/>
            <a:rect l="l" t="t" r="r" b="b"/>
            <a:pathLst>
              <a:path w="828040" h="245110">
                <a:moveTo>
                  <a:pt x="0" y="245071"/>
                </a:moveTo>
                <a:lnTo>
                  <a:pt x="827493" y="245071"/>
                </a:lnTo>
                <a:lnTo>
                  <a:pt x="827493" y="0"/>
                </a:lnTo>
                <a:lnTo>
                  <a:pt x="0" y="0"/>
                </a:lnTo>
                <a:lnTo>
                  <a:pt x="0" y="2450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466713" y="5072672"/>
            <a:ext cx="828040" cy="245110"/>
          </a:xfrm>
          <a:custGeom>
            <a:avLst/>
            <a:gdLst/>
            <a:ahLst/>
            <a:cxnLst/>
            <a:rect l="l" t="t" r="r" b="b"/>
            <a:pathLst>
              <a:path w="828040" h="245110">
                <a:moveTo>
                  <a:pt x="0" y="245071"/>
                </a:moveTo>
                <a:lnTo>
                  <a:pt x="827493" y="245071"/>
                </a:lnTo>
                <a:lnTo>
                  <a:pt x="827493" y="0"/>
                </a:lnTo>
                <a:lnTo>
                  <a:pt x="0" y="0"/>
                </a:lnTo>
                <a:lnTo>
                  <a:pt x="0" y="245071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735698" y="5343409"/>
            <a:ext cx="920750" cy="77470"/>
          </a:xfrm>
          <a:custGeom>
            <a:avLst/>
            <a:gdLst/>
            <a:ahLst/>
            <a:cxnLst/>
            <a:rect l="l" t="t" r="r" b="b"/>
            <a:pathLst>
              <a:path w="920750" h="77470">
                <a:moveTo>
                  <a:pt x="0" y="77077"/>
                </a:moveTo>
                <a:lnTo>
                  <a:pt x="920559" y="77077"/>
                </a:lnTo>
                <a:lnTo>
                  <a:pt x="920559" y="0"/>
                </a:lnTo>
                <a:lnTo>
                  <a:pt x="0" y="0"/>
                </a:lnTo>
                <a:lnTo>
                  <a:pt x="0" y="7707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735698" y="5343409"/>
            <a:ext cx="920750" cy="77470"/>
          </a:xfrm>
          <a:custGeom>
            <a:avLst/>
            <a:gdLst/>
            <a:ahLst/>
            <a:cxnLst/>
            <a:rect l="l" t="t" r="r" b="b"/>
            <a:pathLst>
              <a:path w="920750" h="77470">
                <a:moveTo>
                  <a:pt x="0" y="77077"/>
                </a:moveTo>
                <a:lnTo>
                  <a:pt x="920559" y="77077"/>
                </a:lnTo>
                <a:lnTo>
                  <a:pt x="920559" y="0"/>
                </a:lnTo>
                <a:lnTo>
                  <a:pt x="0" y="0"/>
                </a:lnTo>
                <a:lnTo>
                  <a:pt x="0" y="7707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476746" y="5135879"/>
            <a:ext cx="1169670" cy="215900"/>
          </a:xfrm>
          <a:custGeom>
            <a:avLst/>
            <a:gdLst/>
            <a:ahLst/>
            <a:cxnLst/>
            <a:rect l="l" t="t" r="r" b="b"/>
            <a:pathLst>
              <a:path w="1169670" h="215900">
                <a:moveTo>
                  <a:pt x="795527" y="0"/>
                </a:moveTo>
                <a:lnTo>
                  <a:pt x="0" y="0"/>
                </a:lnTo>
                <a:lnTo>
                  <a:pt x="260857" y="205613"/>
                </a:lnTo>
                <a:lnTo>
                  <a:pt x="1169415" y="215519"/>
                </a:lnTo>
                <a:lnTo>
                  <a:pt x="795527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476746" y="5135879"/>
            <a:ext cx="1169670" cy="215900"/>
          </a:xfrm>
          <a:custGeom>
            <a:avLst/>
            <a:gdLst/>
            <a:ahLst/>
            <a:cxnLst/>
            <a:rect l="l" t="t" r="r" b="b"/>
            <a:pathLst>
              <a:path w="1169670" h="215900">
                <a:moveTo>
                  <a:pt x="260857" y="205613"/>
                </a:moveTo>
                <a:lnTo>
                  <a:pt x="1169415" y="215519"/>
                </a:lnTo>
                <a:lnTo>
                  <a:pt x="795527" y="0"/>
                </a:lnTo>
                <a:lnTo>
                  <a:pt x="0" y="0"/>
                </a:lnTo>
                <a:lnTo>
                  <a:pt x="260857" y="205613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466713" y="5203063"/>
            <a:ext cx="269240" cy="278765"/>
          </a:xfrm>
          <a:custGeom>
            <a:avLst/>
            <a:gdLst/>
            <a:ahLst/>
            <a:cxnLst/>
            <a:rect l="l" t="t" r="r" b="b"/>
            <a:pathLst>
              <a:path w="269240" h="278764">
                <a:moveTo>
                  <a:pt x="0" y="0"/>
                </a:moveTo>
                <a:lnTo>
                  <a:pt x="0" y="72898"/>
                </a:lnTo>
                <a:lnTo>
                  <a:pt x="268986" y="278765"/>
                </a:lnTo>
                <a:lnTo>
                  <a:pt x="257937" y="202946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466713" y="5203063"/>
            <a:ext cx="269240" cy="278765"/>
          </a:xfrm>
          <a:custGeom>
            <a:avLst/>
            <a:gdLst/>
            <a:ahLst/>
            <a:cxnLst/>
            <a:rect l="l" t="t" r="r" b="b"/>
            <a:pathLst>
              <a:path w="269240" h="278764">
                <a:moveTo>
                  <a:pt x="0" y="72898"/>
                </a:moveTo>
                <a:lnTo>
                  <a:pt x="268986" y="278765"/>
                </a:lnTo>
                <a:lnTo>
                  <a:pt x="257937" y="202946"/>
                </a:lnTo>
                <a:lnTo>
                  <a:pt x="0" y="0"/>
                </a:lnTo>
                <a:lnTo>
                  <a:pt x="0" y="7289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735698" y="5406655"/>
            <a:ext cx="920750" cy="77470"/>
          </a:xfrm>
          <a:custGeom>
            <a:avLst/>
            <a:gdLst/>
            <a:ahLst/>
            <a:cxnLst/>
            <a:rect l="l" t="t" r="r" b="b"/>
            <a:pathLst>
              <a:path w="920750" h="77470">
                <a:moveTo>
                  <a:pt x="0" y="77077"/>
                </a:moveTo>
                <a:lnTo>
                  <a:pt x="920559" y="77077"/>
                </a:lnTo>
                <a:lnTo>
                  <a:pt x="920559" y="0"/>
                </a:lnTo>
                <a:lnTo>
                  <a:pt x="0" y="0"/>
                </a:lnTo>
                <a:lnTo>
                  <a:pt x="0" y="7707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735698" y="5406655"/>
            <a:ext cx="920750" cy="77470"/>
          </a:xfrm>
          <a:custGeom>
            <a:avLst/>
            <a:gdLst/>
            <a:ahLst/>
            <a:cxnLst/>
            <a:rect l="l" t="t" r="r" b="b"/>
            <a:pathLst>
              <a:path w="920750" h="77470">
                <a:moveTo>
                  <a:pt x="0" y="77077"/>
                </a:moveTo>
                <a:lnTo>
                  <a:pt x="920559" y="77077"/>
                </a:lnTo>
                <a:lnTo>
                  <a:pt x="920559" y="0"/>
                </a:lnTo>
                <a:lnTo>
                  <a:pt x="0" y="0"/>
                </a:lnTo>
                <a:lnTo>
                  <a:pt x="0" y="7707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689217" y="5128005"/>
            <a:ext cx="257175" cy="186055"/>
          </a:xfrm>
          <a:custGeom>
            <a:avLst/>
            <a:gdLst/>
            <a:ahLst/>
            <a:cxnLst/>
            <a:rect l="l" t="t" r="r" b="b"/>
            <a:pathLst>
              <a:path w="257175" h="186054">
                <a:moveTo>
                  <a:pt x="178688" y="0"/>
                </a:moveTo>
                <a:lnTo>
                  <a:pt x="0" y="0"/>
                </a:lnTo>
                <a:lnTo>
                  <a:pt x="256921" y="185801"/>
                </a:lnTo>
                <a:lnTo>
                  <a:pt x="104612" y="64262"/>
                </a:lnTo>
                <a:lnTo>
                  <a:pt x="93472" y="64262"/>
                </a:lnTo>
                <a:lnTo>
                  <a:pt x="93472" y="55372"/>
                </a:lnTo>
                <a:lnTo>
                  <a:pt x="105260" y="55372"/>
                </a:lnTo>
                <a:lnTo>
                  <a:pt x="178688" y="0"/>
                </a:lnTo>
                <a:close/>
              </a:path>
              <a:path w="257175" h="186054">
                <a:moveTo>
                  <a:pt x="99199" y="59942"/>
                </a:moveTo>
                <a:lnTo>
                  <a:pt x="93472" y="64262"/>
                </a:lnTo>
                <a:lnTo>
                  <a:pt x="104612" y="64262"/>
                </a:lnTo>
                <a:lnTo>
                  <a:pt x="99199" y="59942"/>
                </a:lnTo>
                <a:close/>
              </a:path>
              <a:path w="257175" h="186054">
                <a:moveTo>
                  <a:pt x="105260" y="55372"/>
                </a:moveTo>
                <a:lnTo>
                  <a:pt x="93472" y="55372"/>
                </a:lnTo>
                <a:lnTo>
                  <a:pt x="99199" y="59942"/>
                </a:lnTo>
                <a:lnTo>
                  <a:pt x="105260" y="5537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689217" y="5128005"/>
            <a:ext cx="257175" cy="186055"/>
          </a:xfrm>
          <a:custGeom>
            <a:avLst/>
            <a:gdLst/>
            <a:ahLst/>
            <a:cxnLst/>
            <a:rect l="l" t="t" r="r" b="b"/>
            <a:pathLst>
              <a:path w="257175" h="186054">
                <a:moveTo>
                  <a:pt x="93472" y="55372"/>
                </a:moveTo>
                <a:lnTo>
                  <a:pt x="93472" y="64262"/>
                </a:lnTo>
                <a:lnTo>
                  <a:pt x="178688" y="0"/>
                </a:lnTo>
                <a:lnTo>
                  <a:pt x="0" y="0"/>
                </a:lnTo>
                <a:lnTo>
                  <a:pt x="256921" y="185801"/>
                </a:lnTo>
                <a:lnTo>
                  <a:pt x="93472" y="55372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671056" y="5128005"/>
            <a:ext cx="293370" cy="205740"/>
          </a:xfrm>
          <a:custGeom>
            <a:avLst/>
            <a:gdLst/>
            <a:ahLst/>
            <a:cxnLst/>
            <a:rect l="l" t="t" r="r" b="b"/>
            <a:pathLst>
              <a:path w="293370" h="205739">
                <a:moveTo>
                  <a:pt x="0" y="0"/>
                </a:moveTo>
                <a:lnTo>
                  <a:pt x="28321" y="45720"/>
                </a:lnTo>
                <a:lnTo>
                  <a:pt x="236727" y="195580"/>
                </a:lnTo>
                <a:lnTo>
                  <a:pt x="293370" y="205613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671056" y="5128005"/>
            <a:ext cx="293370" cy="205740"/>
          </a:xfrm>
          <a:custGeom>
            <a:avLst/>
            <a:gdLst/>
            <a:ahLst/>
            <a:cxnLst/>
            <a:rect l="l" t="t" r="r" b="b"/>
            <a:pathLst>
              <a:path w="293370" h="205739">
                <a:moveTo>
                  <a:pt x="293370" y="205613"/>
                </a:moveTo>
                <a:lnTo>
                  <a:pt x="236727" y="195580"/>
                </a:lnTo>
                <a:lnTo>
                  <a:pt x="28321" y="45720"/>
                </a:lnTo>
                <a:lnTo>
                  <a:pt x="0" y="0"/>
                </a:lnTo>
                <a:lnTo>
                  <a:pt x="293370" y="205613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114031" y="5165597"/>
            <a:ext cx="289560" cy="186055"/>
          </a:xfrm>
          <a:custGeom>
            <a:avLst/>
            <a:gdLst/>
            <a:ahLst/>
            <a:cxnLst/>
            <a:rect l="l" t="t" r="r" b="b"/>
            <a:pathLst>
              <a:path w="289559" h="186054">
                <a:moveTo>
                  <a:pt x="37592" y="0"/>
                </a:moveTo>
                <a:lnTo>
                  <a:pt x="0" y="8762"/>
                </a:lnTo>
                <a:lnTo>
                  <a:pt x="242697" y="185800"/>
                </a:lnTo>
                <a:lnTo>
                  <a:pt x="289433" y="185800"/>
                </a:lnTo>
                <a:lnTo>
                  <a:pt x="3759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114031" y="5165597"/>
            <a:ext cx="289560" cy="186055"/>
          </a:xfrm>
          <a:custGeom>
            <a:avLst/>
            <a:gdLst/>
            <a:ahLst/>
            <a:cxnLst/>
            <a:rect l="l" t="t" r="r" b="b"/>
            <a:pathLst>
              <a:path w="289559" h="186054">
                <a:moveTo>
                  <a:pt x="37592" y="0"/>
                </a:moveTo>
                <a:lnTo>
                  <a:pt x="289433" y="185800"/>
                </a:lnTo>
                <a:lnTo>
                  <a:pt x="242697" y="185800"/>
                </a:lnTo>
                <a:lnTo>
                  <a:pt x="0" y="8762"/>
                </a:lnTo>
                <a:lnTo>
                  <a:pt x="37592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938009" y="5128005"/>
            <a:ext cx="437515" cy="186055"/>
          </a:xfrm>
          <a:custGeom>
            <a:avLst/>
            <a:gdLst/>
            <a:ahLst/>
            <a:cxnLst/>
            <a:rect l="l" t="t" r="r" b="b"/>
            <a:pathLst>
              <a:path w="437515" h="186054">
                <a:moveTo>
                  <a:pt x="184785" y="0"/>
                </a:moveTo>
                <a:lnTo>
                  <a:pt x="0" y="0"/>
                </a:lnTo>
                <a:lnTo>
                  <a:pt x="250317" y="64262"/>
                </a:lnTo>
                <a:lnTo>
                  <a:pt x="437134" y="185801"/>
                </a:lnTo>
                <a:lnTo>
                  <a:pt x="184785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938009" y="5128005"/>
            <a:ext cx="437515" cy="186055"/>
          </a:xfrm>
          <a:custGeom>
            <a:avLst/>
            <a:gdLst/>
            <a:ahLst/>
            <a:cxnLst/>
            <a:rect l="l" t="t" r="r" b="b"/>
            <a:pathLst>
              <a:path w="437515" h="186054">
                <a:moveTo>
                  <a:pt x="184785" y="0"/>
                </a:moveTo>
                <a:lnTo>
                  <a:pt x="437134" y="185801"/>
                </a:lnTo>
                <a:lnTo>
                  <a:pt x="250317" y="64262"/>
                </a:lnTo>
                <a:lnTo>
                  <a:pt x="0" y="0"/>
                </a:lnTo>
                <a:lnTo>
                  <a:pt x="184785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616445" y="5248528"/>
            <a:ext cx="1019810" cy="102870"/>
          </a:xfrm>
          <a:custGeom>
            <a:avLst/>
            <a:gdLst/>
            <a:ahLst/>
            <a:cxnLst/>
            <a:rect l="l" t="t" r="r" b="b"/>
            <a:pathLst>
              <a:path w="1019809" h="102870">
                <a:moveTo>
                  <a:pt x="871981" y="0"/>
                </a:moveTo>
                <a:lnTo>
                  <a:pt x="0" y="0"/>
                </a:lnTo>
                <a:lnTo>
                  <a:pt x="121284" y="102870"/>
                </a:lnTo>
                <a:lnTo>
                  <a:pt x="1019682" y="102870"/>
                </a:lnTo>
                <a:lnTo>
                  <a:pt x="87198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616445" y="5248528"/>
            <a:ext cx="1019810" cy="102870"/>
          </a:xfrm>
          <a:custGeom>
            <a:avLst/>
            <a:gdLst/>
            <a:ahLst/>
            <a:cxnLst/>
            <a:rect l="l" t="t" r="r" b="b"/>
            <a:pathLst>
              <a:path w="1019809" h="102870">
                <a:moveTo>
                  <a:pt x="121284" y="102870"/>
                </a:moveTo>
                <a:lnTo>
                  <a:pt x="1019682" y="102870"/>
                </a:lnTo>
                <a:lnTo>
                  <a:pt x="871981" y="0"/>
                </a:lnTo>
                <a:lnTo>
                  <a:pt x="0" y="0"/>
                </a:lnTo>
                <a:lnTo>
                  <a:pt x="121284" y="10287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466713" y="5135879"/>
            <a:ext cx="269240" cy="280670"/>
          </a:xfrm>
          <a:custGeom>
            <a:avLst/>
            <a:gdLst/>
            <a:ahLst/>
            <a:cxnLst/>
            <a:rect l="l" t="t" r="r" b="b"/>
            <a:pathLst>
              <a:path w="269240" h="280670">
                <a:moveTo>
                  <a:pt x="0" y="0"/>
                </a:moveTo>
                <a:lnTo>
                  <a:pt x="0" y="75438"/>
                </a:lnTo>
                <a:lnTo>
                  <a:pt x="268986" y="280670"/>
                </a:lnTo>
                <a:lnTo>
                  <a:pt x="257937" y="206375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466713" y="5135879"/>
            <a:ext cx="269240" cy="280670"/>
          </a:xfrm>
          <a:custGeom>
            <a:avLst/>
            <a:gdLst/>
            <a:ahLst/>
            <a:cxnLst/>
            <a:rect l="l" t="t" r="r" b="b"/>
            <a:pathLst>
              <a:path w="269240" h="280670">
                <a:moveTo>
                  <a:pt x="0" y="75438"/>
                </a:moveTo>
                <a:lnTo>
                  <a:pt x="268986" y="280670"/>
                </a:lnTo>
                <a:lnTo>
                  <a:pt x="257937" y="206375"/>
                </a:lnTo>
                <a:lnTo>
                  <a:pt x="0" y="0"/>
                </a:lnTo>
                <a:lnTo>
                  <a:pt x="0" y="7543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795009" y="4477765"/>
            <a:ext cx="1944370" cy="393700"/>
          </a:xfrm>
          <a:custGeom>
            <a:avLst/>
            <a:gdLst/>
            <a:ahLst/>
            <a:cxnLst/>
            <a:rect l="l" t="t" r="r" b="b"/>
            <a:pathLst>
              <a:path w="1944370" h="393700">
                <a:moveTo>
                  <a:pt x="1210183" y="0"/>
                </a:moveTo>
                <a:lnTo>
                  <a:pt x="0" y="0"/>
                </a:lnTo>
                <a:lnTo>
                  <a:pt x="507491" y="393318"/>
                </a:lnTo>
                <a:lnTo>
                  <a:pt x="1944242" y="384428"/>
                </a:lnTo>
                <a:lnTo>
                  <a:pt x="12101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795009" y="4477765"/>
            <a:ext cx="1944370" cy="393700"/>
          </a:xfrm>
          <a:custGeom>
            <a:avLst/>
            <a:gdLst/>
            <a:ahLst/>
            <a:cxnLst/>
            <a:rect l="l" t="t" r="r" b="b"/>
            <a:pathLst>
              <a:path w="1944370" h="393700">
                <a:moveTo>
                  <a:pt x="507491" y="393318"/>
                </a:moveTo>
                <a:lnTo>
                  <a:pt x="1944242" y="384428"/>
                </a:lnTo>
                <a:lnTo>
                  <a:pt x="1210183" y="0"/>
                </a:lnTo>
                <a:lnTo>
                  <a:pt x="0" y="0"/>
                </a:lnTo>
                <a:lnTo>
                  <a:pt x="507491" y="39331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280530" y="4843398"/>
            <a:ext cx="2540" cy="79375"/>
          </a:xfrm>
          <a:custGeom>
            <a:avLst/>
            <a:gdLst/>
            <a:ahLst/>
            <a:cxnLst/>
            <a:rect l="l" t="t" r="r" b="b"/>
            <a:pathLst>
              <a:path w="2539" h="79375">
                <a:moveTo>
                  <a:pt x="0" y="79120"/>
                </a:moveTo>
                <a:lnTo>
                  <a:pt x="2032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952744" y="4394834"/>
            <a:ext cx="530225" cy="520065"/>
          </a:xfrm>
          <a:custGeom>
            <a:avLst/>
            <a:gdLst/>
            <a:ahLst/>
            <a:cxnLst/>
            <a:rect l="l" t="t" r="r" b="b"/>
            <a:pathLst>
              <a:path w="530225" h="520064">
                <a:moveTo>
                  <a:pt x="36321" y="0"/>
                </a:moveTo>
                <a:lnTo>
                  <a:pt x="0" y="103123"/>
                </a:lnTo>
                <a:lnTo>
                  <a:pt x="530097" y="519683"/>
                </a:lnTo>
                <a:lnTo>
                  <a:pt x="3632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952744" y="4394834"/>
            <a:ext cx="530225" cy="520065"/>
          </a:xfrm>
          <a:custGeom>
            <a:avLst/>
            <a:gdLst/>
            <a:ahLst/>
            <a:cxnLst/>
            <a:rect l="l" t="t" r="r" b="b"/>
            <a:pathLst>
              <a:path w="530225" h="520064">
                <a:moveTo>
                  <a:pt x="530097" y="519683"/>
                </a:moveTo>
                <a:lnTo>
                  <a:pt x="36321" y="0"/>
                </a:lnTo>
                <a:lnTo>
                  <a:pt x="0" y="103123"/>
                </a:lnTo>
                <a:lnTo>
                  <a:pt x="530097" y="519683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971032" y="4404740"/>
            <a:ext cx="1507490" cy="456565"/>
          </a:xfrm>
          <a:custGeom>
            <a:avLst/>
            <a:gdLst/>
            <a:ahLst/>
            <a:cxnLst/>
            <a:rect l="l" t="t" r="r" b="b"/>
            <a:pathLst>
              <a:path w="1507490" h="456564">
                <a:moveTo>
                  <a:pt x="802639" y="0"/>
                </a:moveTo>
                <a:lnTo>
                  <a:pt x="0" y="0"/>
                </a:lnTo>
                <a:lnTo>
                  <a:pt x="452500" y="456437"/>
                </a:lnTo>
                <a:lnTo>
                  <a:pt x="1507236" y="446658"/>
                </a:lnTo>
                <a:lnTo>
                  <a:pt x="8026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971032" y="4404740"/>
            <a:ext cx="1507490" cy="456565"/>
          </a:xfrm>
          <a:custGeom>
            <a:avLst/>
            <a:gdLst/>
            <a:ahLst/>
            <a:cxnLst/>
            <a:rect l="l" t="t" r="r" b="b"/>
            <a:pathLst>
              <a:path w="1507490" h="456564">
                <a:moveTo>
                  <a:pt x="452500" y="456437"/>
                </a:moveTo>
                <a:lnTo>
                  <a:pt x="1507236" y="446658"/>
                </a:lnTo>
                <a:lnTo>
                  <a:pt x="802639" y="0"/>
                </a:lnTo>
                <a:lnTo>
                  <a:pt x="0" y="0"/>
                </a:lnTo>
                <a:lnTo>
                  <a:pt x="452500" y="456437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784850" y="4477765"/>
            <a:ext cx="1954530" cy="454659"/>
          </a:xfrm>
          <a:custGeom>
            <a:avLst/>
            <a:gdLst/>
            <a:ahLst/>
            <a:cxnLst/>
            <a:rect l="l" t="t" r="r" b="b"/>
            <a:pathLst>
              <a:path w="1954529" h="454660">
                <a:moveTo>
                  <a:pt x="0" y="0"/>
                </a:moveTo>
                <a:lnTo>
                  <a:pt x="0" y="104012"/>
                </a:lnTo>
                <a:lnTo>
                  <a:pt x="494664" y="454659"/>
                </a:lnTo>
                <a:lnTo>
                  <a:pt x="1954402" y="454659"/>
                </a:lnTo>
                <a:lnTo>
                  <a:pt x="1954402" y="374395"/>
                </a:lnTo>
                <a:lnTo>
                  <a:pt x="502792" y="37439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784850" y="4477765"/>
            <a:ext cx="1954530" cy="454659"/>
          </a:xfrm>
          <a:custGeom>
            <a:avLst/>
            <a:gdLst/>
            <a:ahLst/>
            <a:cxnLst/>
            <a:rect l="l" t="t" r="r" b="b"/>
            <a:pathLst>
              <a:path w="1954529" h="454660">
                <a:moveTo>
                  <a:pt x="502792" y="374395"/>
                </a:moveTo>
                <a:lnTo>
                  <a:pt x="1954402" y="374395"/>
                </a:lnTo>
                <a:lnTo>
                  <a:pt x="1954402" y="454659"/>
                </a:lnTo>
                <a:lnTo>
                  <a:pt x="494664" y="454659"/>
                </a:lnTo>
                <a:lnTo>
                  <a:pt x="0" y="104012"/>
                </a:lnTo>
                <a:lnTo>
                  <a:pt x="0" y="0"/>
                </a:lnTo>
                <a:lnTo>
                  <a:pt x="502792" y="374395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108572" y="4462017"/>
            <a:ext cx="937260" cy="193675"/>
          </a:xfrm>
          <a:custGeom>
            <a:avLst/>
            <a:gdLst/>
            <a:ahLst/>
            <a:cxnLst/>
            <a:rect l="l" t="t" r="r" b="b"/>
            <a:pathLst>
              <a:path w="937259" h="193675">
                <a:moveTo>
                  <a:pt x="636651" y="0"/>
                </a:moveTo>
                <a:lnTo>
                  <a:pt x="0" y="0"/>
                </a:lnTo>
                <a:lnTo>
                  <a:pt x="208152" y="193674"/>
                </a:lnTo>
                <a:lnTo>
                  <a:pt x="936751" y="193674"/>
                </a:lnTo>
                <a:lnTo>
                  <a:pt x="63665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108572" y="4462017"/>
            <a:ext cx="937260" cy="193675"/>
          </a:xfrm>
          <a:custGeom>
            <a:avLst/>
            <a:gdLst/>
            <a:ahLst/>
            <a:cxnLst/>
            <a:rect l="l" t="t" r="r" b="b"/>
            <a:pathLst>
              <a:path w="937259" h="193675">
                <a:moveTo>
                  <a:pt x="208152" y="193674"/>
                </a:moveTo>
                <a:lnTo>
                  <a:pt x="936751" y="193674"/>
                </a:lnTo>
                <a:lnTo>
                  <a:pt x="636651" y="0"/>
                </a:lnTo>
                <a:lnTo>
                  <a:pt x="0" y="0"/>
                </a:lnTo>
                <a:lnTo>
                  <a:pt x="208152" y="193674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110604" y="4462017"/>
            <a:ext cx="635635" cy="73660"/>
          </a:xfrm>
          <a:custGeom>
            <a:avLst/>
            <a:gdLst/>
            <a:ahLst/>
            <a:cxnLst/>
            <a:rect l="l" t="t" r="r" b="b"/>
            <a:pathLst>
              <a:path w="635634" h="73660">
                <a:moveTo>
                  <a:pt x="635253" y="0"/>
                </a:moveTo>
                <a:lnTo>
                  <a:pt x="0" y="0"/>
                </a:lnTo>
                <a:lnTo>
                  <a:pt x="73914" y="73151"/>
                </a:lnTo>
                <a:lnTo>
                  <a:pt x="626110" y="73151"/>
                </a:lnTo>
                <a:lnTo>
                  <a:pt x="635253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110604" y="4462017"/>
            <a:ext cx="635635" cy="73660"/>
          </a:xfrm>
          <a:custGeom>
            <a:avLst/>
            <a:gdLst/>
            <a:ahLst/>
            <a:cxnLst/>
            <a:rect l="l" t="t" r="r" b="b"/>
            <a:pathLst>
              <a:path w="635634" h="73660">
                <a:moveTo>
                  <a:pt x="73914" y="73151"/>
                </a:moveTo>
                <a:lnTo>
                  <a:pt x="626110" y="73151"/>
                </a:lnTo>
                <a:lnTo>
                  <a:pt x="635253" y="0"/>
                </a:lnTo>
                <a:lnTo>
                  <a:pt x="0" y="0"/>
                </a:lnTo>
                <a:lnTo>
                  <a:pt x="73914" y="73151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185408" y="4535170"/>
            <a:ext cx="542290" cy="65405"/>
          </a:xfrm>
          <a:custGeom>
            <a:avLst/>
            <a:gdLst/>
            <a:ahLst/>
            <a:cxnLst/>
            <a:rect l="l" t="t" r="r" b="b"/>
            <a:pathLst>
              <a:path w="542290" h="65404">
                <a:moveTo>
                  <a:pt x="542289" y="0"/>
                </a:moveTo>
                <a:lnTo>
                  <a:pt x="0" y="0"/>
                </a:lnTo>
                <a:lnTo>
                  <a:pt x="64769" y="65150"/>
                </a:lnTo>
                <a:lnTo>
                  <a:pt x="518033" y="54482"/>
                </a:lnTo>
                <a:lnTo>
                  <a:pt x="542289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185408" y="4535170"/>
            <a:ext cx="542290" cy="65405"/>
          </a:xfrm>
          <a:custGeom>
            <a:avLst/>
            <a:gdLst/>
            <a:ahLst/>
            <a:cxnLst/>
            <a:rect l="l" t="t" r="r" b="b"/>
            <a:pathLst>
              <a:path w="542290" h="65404">
                <a:moveTo>
                  <a:pt x="64769" y="65150"/>
                </a:moveTo>
                <a:lnTo>
                  <a:pt x="518033" y="54482"/>
                </a:lnTo>
                <a:lnTo>
                  <a:pt x="542289" y="0"/>
                </a:lnTo>
                <a:lnTo>
                  <a:pt x="0" y="0"/>
                </a:lnTo>
                <a:lnTo>
                  <a:pt x="64769" y="6515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242050" y="4592446"/>
            <a:ext cx="457834" cy="63500"/>
          </a:xfrm>
          <a:custGeom>
            <a:avLst/>
            <a:gdLst/>
            <a:ahLst/>
            <a:cxnLst/>
            <a:rect l="l" t="t" r="r" b="b"/>
            <a:pathLst>
              <a:path w="457834" h="63500">
                <a:moveTo>
                  <a:pt x="457326" y="0"/>
                </a:moveTo>
                <a:lnTo>
                  <a:pt x="0" y="0"/>
                </a:lnTo>
                <a:lnTo>
                  <a:pt x="67817" y="63245"/>
                </a:lnTo>
                <a:lnTo>
                  <a:pt x="457326" y="63245"/>
                </a:lnTo>
                <a:lnTo>
                  <a:pt x="457326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242050" y="4592446"/>
            <a:ext cx="457834" cy="63500"/>
          </a:xfrm>
          <a:custGeom>
            <a:avLst/>
            <a:gdLst/>
            <a:ahLst/>
            <a:cxnLst/>
            <a:rect l="l" t="t" r="r" b="b"/>
            <a:pathLst>
              <a:path w="457834" h="63500">
                <a:moveTo>
                  <a:pt x="0" y="0"/>
                </a:moveTo>
                <a:lnTo>
                  <a:pt x="67817" y="63245"/>
                </a:lnTo>
                <a:lnTo>
                  <a:pt x="457326" y="63245"/>
                </a:lnTo>
                <a:lnTo>
                  <a:pt x="457326" y="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893559" y="4477765"/>
            <a:ext cx="845819" cy="375920"/>
          </a:xfrm>
          <a:custGeom>
            <a:avLst/>
            <a:gdLst/>
            <a:ahLst/>
            <a:cxnLst/>
            <a:rect l="l" t="t" r="r" b="b"/>
            <a:pathLst>
              <a:path w="845820" h="375920">
                <a:moveTo>
                  <a:pt x="108204" y="0"/>
                </a:moveTo>
                <a:lnTo>
                  <a:pt x="0" y="0"/>
                </a:lnTo>
                <a:lnTo>
                  <a:pt x="584708" y="375538"/>
                </a:lnTo>
                <a:lnTo>
                  <a:pt x="845693" y="375538"/>
                </a:lnTo>
                <a:lnTo>
                  <a:pt x="108204" y="0"/>
                </a:lnTo>
                <a:close/>
              </a:path>
            </a:pathLst>
          </a:custGeom>
          <a:solidFill>
            <a:srgbClr val="D5D5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893559" y="4477765"/>
            <a:ext cx="845819" cy="375920"/>
          </a:xfrm>
          <a:custGeom>
            <a:avLst/>
            <a:gdLst/>
            <a:ahLst/>
            <a:cxnLst/>
            <a:rect l="l" t="t" r="r" b="b"/>
            <a:pathLst>
              <a:path w="845820" h="375920">
                <a:moveTo>
                  <a:pt x="584708" y="375538"/>
                </a:moveTo>
                <a:lnTo>
                  <a:pt x="845693" y="375538"/>
                </a:lnTo>
                <a:lnTo>
                  <a:pt x="108204" y="0"/>
                </a:lnTo>
                <a:lnTo>
                  <a:pt x="0" y="0"/>
                </a:lnTo>
                <a:lnTo>
                  <a:pt x="584708" y="37553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6147053" y="4703064"/>
            <a:ext cx="1386205" cy="47625"/>
          </a:xfrm>
          <a:custGeom>
            <a:avLst/>
            <a:gdLst/>
            <a:ahLst/>
            <a:cxnLst/>
            <a:rect l="l" t="t" r="r" b="b"/>
            <a:pathLst>
              <a:path w="1386204" h="47625">
                <a:moveTo>
                  <a:pt x="1385824" y="47498"/>
                </a:moveTo>
                <a:lnTo>
                  <a:pt x="1172210" y="47498"/>
                </a:lnTo>
                <a:lnTo>
                  <a:pt x="1087247" y="0"/>
                </a:lnTo>
                <a:lnTo>
                  <a:pt x="130556" y="0"/>
                </a:lnTo>
                <a:lnTo>
                  <a:pt x="130556" y="47498"/>
                </a:lnTo>
                <a:lnTo>
                  <a:pt x="0" y="4749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232016" y="4106290"/>
            <a:ext cx="910590" cy="549910"/>
          </a:xfrm>
          <a:custGeom>
            <a:avLst/>
            <a:gdLst/>
            <a:ahLst/>
            <a:cxnLst/>
            <a:rect l="l" t="t" r="r" b="b"/>
            <a:pathLst>
              <a:path w="910590" h="549910">
                <a:moveTo>
                  <a:pt x="732155" y="0"/>
                </a:moveTo>
                <a:lnTo>
                  <a:pt x="0" y="0"/>
                </a:lnTo>
                <a:lnTo>
                  <a:pt x="103250" y="74040"/>
                </a:lnTo>
                <a:lnTo>
                  <a:pt x="129540" y="130428"/>
                </a:lnTo>
                <a:lnTo>
                  <a:pt x="157987" y="232155"/>
                </a:lnTo>
                <a:lnTo>
                  <a:pt x="157987" y="298449"/>
                </a:lnTo>
                <a:lnTo>
                  <a:pt x="120523" y="381380"/>
                </a:lnTo>
                <a:lnTo>
                  <a:pt x="84074" y="438657"/>
                </a:lnTo>
                <a:lnTo>
                  <a:pt x="18161" y="493013"/>
                </a:lnTo>
                <a:lnTo>
                  <a:pt x="74930" y="549401"/>
                </a:lnTo>
                <a:lnTo>
                  <a:pt x="741299" y="549401"/>
                </a:lnTo>
                <a:lnTo>
                  <a:pt x="797940" y="502919"/>
                </a:lnTo>
                <a:lnTo>
                  <a:pt x="834389" y="457453"/>
                </a:lnTo>
                <a:lnTo>
                  <a:pt x="891159" y="372490"/>
                </a:lnTo>
                <a:lnTo>
                  <a:pt x="910463" y="279653"/>
                </a:lnTo>
                <a:lnTo>
                  <a:pt x="910463" y="204469"/>
                </a:lnTo>
                <a:lnTo>
                  <a:pt x="873887" y="101726"/>
                </a:lnTo>
                <a:lnTo>
                  <a:pt x="808101" y="36575"/>
                </a:lnTo>
                <a:lnTo>
                  <a:pt x="769619" y="9778"/>
                </a:lnTo>
                <a:lnTo>
                  <a:pt x="73215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232016" y="4106290"/>
            <a:ext cx="910590" cy="549910"/>
          </a:xfrm>
          <a:custGeom>
            <a:avLst/>
            <a:gdLst/>
            <a:ahLst/>
            <a:cxnLst/>
            <a:rect l="l" t="t" r="r" b="b"/>
            <a:pathLst>
              <a:path w="910590" h="549910">
                <a:moveTo>
                  <a:pt x="732155" y="0"/>
                </a:moveTo>
                <a:lnTo>
                  <a:pt x="769619" y="9778"/>
                </a:lnTo>
                <a:lnTo>
                  <a:pt x="808101" y="36575"/>
                </a:lnTo>
                <a:lnTo>
                  <a:pt x="873887" y="101726"/>
                </a:lnTo>
                <a:lnTo>
                  <a:pt x="910463" y="204469"/>
                </a:lnTo>
                <a:lnTo>
                  <a:pt x="910463" y="279653"/>
                </a:lnTo>
                <a:lnTo>
                  <a:pt x="891159" y="372490"/>
                </a:lnTo>
                <a:lnTo>
                  <a:pt x="834389" y="457453"/>
                </a:lnTo>
                <a:lnTo>
                  <a:pt x="797940" y="502919"/>
                </a:lnTo>
                <a:lnTo>
                  <a:pt x="741299" y="549401"/>
                </a:lnTo>
                <a:lnTo>
                  <a:pt x="74930" y="549401"/>
                </a:lnTo>
                <a:lnTo>
                  <a:pt x="18161" y="493013"/>
                </a:lnTo>
                <a:lnTo>
                  <a:pt x="84074" y="438657"/>
                </a:lnTo>
                <a:lnTo>
                  <a:pt x="120523" y="381380"/>
                </a:lnTo>
                <a:lnTo>
                  <a:pt x="157987" y="298449"/>
                </a:lnTo>
                <a:lnTo>
                  <a:pt x="157987" y="232155"/>
                </a:lnTo>
                <a:lnTo>
                  <a:pt x="129540" y="130428"/>
                </a:lnTo>
                <a:lnTo>
                  <a:pt x="103250" y="74040"/>
                </a:lnTo>
                <a:lnTo>
                  <a:pt x="0" y="0"/>
                </a:lnTo>
                <a:lnTo>
                  <a:pt x="732155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 txBox="1"/>
          <p:nvPr/>
        </p:nvSpPr>
        <p:spPr>
          <a:xfrm>
            <a:off x="6234429" y="4097020"/>
            <a:ext cx="892810" cy="3778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Order</a:t>
            </a:r>
            <a:r>
              <a:rPr sz="800" spc="-75" dirty="0">
                <a:latin typeface="Arial"/>
                <a:cs typeface="Arial"/>
              </a:rPr>
              <a:t> </a:t>
            </a:r>
            <a:r>
              <a:rPr sz="800" dirty="0">
                <a:latin typeface="Arial"/>
                <a:cs typeface="Arial"/>
              </a:rPr>
              <a:t>Confirmation</a:t>
            </a:r>
            <a:endParaRPr sz="800">
              <a:latin typeface="Arial"/>
              <a:cs typeface="Arial"/>
            </a:endParaRPr>
          </a:p>
          <a:p>
            <a:pPr marL="27305" algn="ctr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-- </a:t>
            </a:r>
            <a:r>
              <a:rPr sz="800" dirty="0">
                <a:latin typeface="Arial"/>
                <a:cs typeface="Arial"/>
              </a:rPr>
              <a:t>- - -</a:t>
            </a:r>
            <a:r>
              <a:rPr sz="800" spc="-114" dirty="0">
                <a:latin typeface="Arial"/>
                <a:cs typeface="Arial"/>
              </a:rPr>
              <a:t> </a:t>
            </a:r>
            <a:r>
              <a:rPr sz="800" dirty="0">
                <a:latin typeface="Arial"/>
                <a:cs typeface="Arial"/>
              </a:rPr>
              <a:t>-</a:t>
            </a:r>
            <a:endParaRPr sz="800">
              <a:latin typeface="Arial"/>
              <a:cs typeface="Arial"/>
            </a:endParaRPr>
          </a:p>
          <a:p>
            <a:pPr marL="27305" algn="ctr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-- </a:t>
            </a:r>
            <a:r>
              <a:rPr sz="800" dirty="0">
                <a:latin typeface="Arial"/>
                <a:cs typeface="Arial"/>
              </a:rPr>
              <a:t>- - -</a:t>
            </a:r>
            <a:r>
              <a:rPr sz="800" spc="-114" dirty="0">
                <a:latin typeface="Arial"/>
                <a:cs typeface="Arial"/>
              </a:rPr>
              <a:t> </a:t>
            </a:r>
            <a:r>
              <a:rPr sz="800" dirty="0">
                <a:latin typeface="Arial"/>
                <a:cs typeface="Arial"/>
              </a:rPr>
              <a:t>-</a:t>
            </a:r>
            <a:endParaRPr sz="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Free</a:t>
            </a:r>
            <a:r>
              <a:rPr spc="-85" dirty="0"/>
              <a:t> </a:t>
            </a:r>
            <a:r>
              <a:rPr dirty="0"/>
              <a:t>Goods</a:t>
            </a:r>
          </a:p>
        </p:txBody>
      </p:sp>
      <p:sp>
        <p:nvSpPr>
          <p:cNvPr id="8" name="object 8"/>
          <p:cNvSpPr/>
          <p:nvPr/>
        </p:nvSpPr>
        <p:spPr>
          <a:xfrm>
            <a:off x="7389645" y="3835302"/>
            <a:ext cx="1063653" cy="9115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48600" y="1380658"/>
            <a:ext cx="678040" cy="5054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0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66884551"/>
              </p:ext>
            </p:extLst>
          </p:nvPr>
        </p:nvGraphicFramePr>
        <p:xfrm>
          <a:off x="838199" y="1256410"/>
          <a:ext cx="7947026" cy="36906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70862"/>
                <a:gridCol w="5681762"/>
                <a:gridCol w="1294402"/>
              </a:tblGrid>
              <a:tr h="110270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Inclusive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70815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nly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ays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 for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om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quested.</a:t>
                      </a:r>
                      <a:r>
                        <a:rPr sz="1400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st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the  goods are free of charge. </a:t>
                      </a:r>
                      <a:r>
                        <a:rPr sz="1400" spc="-35" dirty="0">
                          <a:latin typeface="Arial"/>
                          <a:cs typeface="Arial"/>
                        </a:rPr>
                        <a:t>Two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ut of eight eggs are free</a:t>
                      </a:r>
                      <a:r>
                        <a:rPr sz="1400" spc="-2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.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 marR="500380" algn="just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refore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der 8 eggs, 8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il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wil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not be  charged for 2 of them. So in this case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ha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dered an</a:t>
                      </a:r>
                      <a:r>
                        <a:rPr sz="1400" spc="-25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clusive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onus</a:t>
                      </a:r>
                      <a:r>
                        <a:rPr sz="140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quantity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925"/>
                        </a:spcBef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2 </a:t>
                      </a:r>
                      <a:r>
                        <a:rPr sz="1400" b="1" spc="-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out of</a:t>
                      </a:r>
                      <a:r>
                        <a:rPr sz="1400" b="1" spc="-13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8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305857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xclusiv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98425">
                        <a:lnSpc>
                          <a:spcPct val="100000"/>
                        </a:lnSpc>
                        <a:spcBef>
                          <a:spcPts val="710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ay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the goods ordered and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given extr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 free</a:t>
                      </a:r>
                      <a:r>
                        <a:rPr sz="1400" spc="-2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 charge.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 exclusi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onus quantity is also called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exclusive free</a:t>
                      </a:r>
                      <a:r>
                        <a:rPr sz="1400" b="1" spc="-2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goods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 means that in addition to the purchase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ertain quantity of  materials are guaranteed as free goods. In oth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ords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larger quantity 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an is ordered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hereb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no charge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ad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the additional  quantity</a:t>
                      </a:r>
                      <a:r>
                        <a:rPr sz="14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3 +</a:t>
                      </a:r>
                      <a:r>
                        <a:rPr sz="1400" b="1" spc="-12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014464">
                <a:tc>
                  <a:txBody>
                    <a:bodyPr/>
                    <a:lstStyle/>
                    <a:p>
                      <a:pPr marL="85090" marR="16891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x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lusi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v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fferent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terial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85090" marR="273685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terial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s free goods do not necessarily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ha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be</a:t>
                      </a:r>
                      <a:r>
                        <a:rPr sz="1400" spc="-2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m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s the materials orders. 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Whe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ustomer orders 3 larg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ray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 eggs, the custom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oul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ff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hicken for</a:t>
                      </a:r>
                      <a:r>
                        <a:rPr sz="1400" spc="-2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ree!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3 +</a:t>
                      </a:r>
                      <a:r>
                        <a:rPr sz="1400" b="1" spc="-12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1" name="object 11"/>
          <p:cNvSpPr/>
          <p:nvPr/>
        </p:nvSpPr>
        <p:spPr>
          <a:xfrm>
            <a:off x="7467600" y="2496694"/>
            <a:ext cx="1287640" cy="10768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694445" y="4116989"/>
            <a:ext cx="1066760" cy="5536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838198" y="5008629"/>
            <a:ext cx="8026401" cy="932307"/>
          </a:xfrm>
          <a:prstGeom prst="rect">
            <a:avLst/>
          </a:prstGeom>
          <a:solidFill>
            <a:srgbClr val="ADB5FB"/>
          </a:solidFill>
          <a:ln w="12700">
            <a:solidFill>
              <a:srgbClr val="000000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R="8890">
              <a:lnSpc>
                <a:spcPct val="100000"/>
              </a:lnSpc>
              <a:spcBef>
                <a:spcPts val="1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8509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•</a:t>
            </a:r>
            <a:r>
              <a:rPr sz="1400" b="1" spc="-5" dirty="0">
                <a:latin typeface="Arial"/>
                <a:cs typeface="Arial"/>
              </a:rPr>
              <a:t>The free goods quantity can be defined as a quantity proportional to the sold</a:t>
            </a:r>
            <a:r>
              <a:rPr sz="1400" b="1" spc="28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quantity.</a:t>
            </a:r>
            <a:endParaRPr sz="1400" dirty="0">
              <a:latin typeface="Arial"/>
              <a:cs typeface="Arial"/>
            </a:endParaRPr>
          </a:p>
          <a:p>
            <a:pPr marL="85090" marR="57785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•</a:t>
            </a:r>
            <a:r>
              <a:rPr sz="1400" b="1" spc="-5" dirty="0">
                <a:latin typeface="Arial"/>
                <a:cs typeface="Arial"/>
              </a:rPr>
              <a:t>For the </a:t>
            </a:r>
            <a:r>
              <a:rPr sz="1400" b="1" spc="-10" dirty="0">
                <a:latin typeface="Arial"/>
                <a:cs typeface="Arial"/>
              </a:rPr>
              <a:t>delivery </a:t>
            </a:r>
            <a:r>
              <a:rPr sz="1400" b="1" spc="-20" dirty="0">
                <a:latin typeface="Arial"/>
                <a:cs typeface="Arial"/>
              </a:rPr>
              <a:t>you </a:t>
            </a:r>
            <a:r>
              <a:rPr sz="1400" b="1" spc="-5" dirty="0">
                <a:latin typeface="Arial"/>
                <a:cs typeface="Arial"/>
              </a:rPr>
              <a:t>can control </a:t>
            </a:r>
            <a:r>
              <a:rPr sz="1400" b="1" dirty="0">
                <a:latin typeface="Arial"/>
                <a:cs typeface="Arial"/>
              </a:rPr>
              <a:t>whether </a:t>
            </a:r>
            <a:r>
              <a:rPr sz="1400" b="1" spc="-10" dirty="0">
                <a:latin typeface="Arial"/>
                <a:cs typeface="Arial"/>
              </a:rPr>
              <a:t>the </a:t>
            </a:r>
            <a:r>
              <a:rPr sz="1400" b="1" spc="-5" dirty="0">
                <a:latin typeface="Arial"/>
                <a:cs typeface="Arial"/>
              </a:rPr>
              <a:t>free </a:t>
            </a:r>
            <a:r>
              <a:rPr sz="1400" b="1" spc="-10" dirty="0">
                <a:latin typeface="Arial"/>
                <a:cs typeface="Arial"/>
              </a:rPr>
              <a:t>goods </a:t>
            </a:r>
            <a:r>
              <a:rPr sz="1400" b="1" spc="-5" dirty="0">
                <a:latin typeface="Arial"/>
                <a:cs typeface="Arial"/>
              </a:rPr>
              <a:t>are processed independently  or </a:t>
            </a:r>
            <a:r>
              <a:rPr sz="1400" b="1" dirty="0">
                <a:latin typeface="Arial"/>
                <a:cs typeface="Arial"/>
              </a:rPr>
              <a:t>whether </a:t>
            </a:r>
            <a:r>
              <a:rPr sz="1400" b="1" spc="-5" dirty="0">
                <a:latin typeface="Arial"/>
                <a:cs typeface="Arial"/>
              </a:rPr>
              <a:t>they are only copied to </a:t>
            </a:r>
            <a:r>
              <a:rPr sz="1400" b="1" spc="-10" dirty="0">
                <a:latin typeface="Arial"/>
                <a:cs typeface="Arial"/>
              </a:rPr>
              <a:t>the delivery for </a:t>
            </a:r>
            <a:r>
              <a:rPr sz="1400" b="1" spc="-5" dirty="0">
                <a:latin typeface="Arial"/>
                <a:cs typeface="Arial"/>
              </a:rPr>
              <a:t>partial </a:t>
            </a:r>
            <a:r>
              <a:rPr sz="1400" b="1" spc="-10" dirty="0">
                <a:latin typeface="Arial"/>
                <a:cs typeface="Arial"/>
              </a:rPr>
              <a:t>delivery </a:t>
            </a:r>
            <a:r>
              <a:rPr sz="1400" b="1" spc="-5" dirty="0">
                <a:latin typeface="Arial"/>
                <a:cs typeface="Arial"/>
              </a:rPr>
              <a:t>or full</a:t>
            </a:r>
            <a:r>
              <a:rPr sz="1400" b="1" spc="360" dirty="0">
                <a:latin typeface="Arial"/>
                <a:cs typeface="Arial"/>
              </a:rPr>
              <a:t> </a:t>
            </a:r>
            <a:r>
              <a:rPr sz="1400" b="1" spc="-20" dirty="0">
                <a:latin typeface="Arial"/>
                <a:cs typeface="Arial"/>
              </a:rPr>
              <a:t>delivery.</a:t>
            </a:r>
            <a:endParaRPr sz="14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5753100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Free</a:t>
            </a:r>
            <a:r>
              <a:rPr spc="-85" dirty="0"/>
              <a:t> </a:t>
            </a:r>
            <a:r>
              <a:rPr dirty="0"/>
              <a:t>Goods</a:t>
            </a:r>
          </a:p>
        </p:txBody>
      </p:sp>
      <p:sp>
        <p:nvSpPr>
          <p:cNvPr id="8" name="object 8"/>
          <p:cNvSpPr/>
          <p:nvPr/>
        </p:nvSpPr>
        <p:spPr>
          <a:xfrm>
            <a:off x="609600" y="1600200"/>
            <a:ext cx="7429500" cy="3505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95312" y="1585849"/>
            <a:ext cx="7458075" cy="3533775"/>
          </a:xfrm>
          <a:custGeom>
            <a:avLst/>
            <a:gdLst/>
            <a:ahLst/>
            <a:cxnLst/>
            <a:rect l="l" t="t" r="r" b="b"/>
            <a:pathLst>
              <a:path w="7458075" h="3533775">
                <a:moveTo>
                  <a:pt x="0" y="3533775"/>
                </a:moveTo>
                <a:lnTo>
                  <a:pt x="7458075" y="3533775"/>
                </a:lnTo>
                <a:lnTo>
                  <a:pt x="7458075" y="0"/>
                </a:lnTo>
                <a:lnTo>
                  <a:pt x="0" y="0"/>
                </a:lnTo>
                <a:lnTo>
                  <a:pt x="0" y="3533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181600" y="1524000"/>
            <a:ext cx="3200400" cy="162242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791200" y="4953000"/>
            <a:ext cx="2286000" cy="1219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76848" y="4938712"/>
            <a:ext cx="2314575" cy="1247775"/>
          </a:xfrm>
          <a:custGeom>
            <a:avLst/>
            <a:gdLst/>
            <a:ahLst/>
            <a:cxnLst/>
            <a:rect l="l" t="t" r="r" b="b"/>
            <a:pathLst>
              <a:path w="2314575" h="1247775">
                <a:moveTo>
                  <a:pt x="0" y="1247775"/>
                </a:moveTo>
                <a:lnTo>
                  <a:pt x="2314575" y="1247775"/>
                </a:lnTo>
                <a:lnTo>
                  <a:pt x="2314575" y="0"/>
                </a:lnTo>
                <a:lnTo>
                  <a:pt x="0" y="0"/>
                </a:lnTo>
                <a:lnTo>
                  <a:pt x="0" y="1247775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583793" y="5296153"/>
            <a:ext cx="2920365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N1 – </a:t>
            </a:r>
            <a:r>
              <a:rPr sz="2000" spc="-5" dirty="0">
                <a:latin typeface="Times New Roman"/>
                <a:cs typeface="Times New Roman"/>
              </a:rPr>
              <a:t>Create </a:t>
            </a:r>
            <a:r>
              <a:rPr sz="2000" dirty="0">
                <a:latin typeface="Times New Roman"/>
                <a:cs typeface="Times New Roman"/>
              </a:rPr>
              <a:t>Free </a:t>
            </a:r>
            <a:r>
              <a:rPr sz="2000" spc="5" dirty="0">
                <a:latin typeface="Times New Roman"/>
                <a:cs typeface="Times New Roman"/>
              </a:rPr>
              <a:t>goods  </a:t>
            </a:r>
            <a:r>
              <a:rPr sz="2000" dirty="0">
                <a:latin typeface="Times New Roman"/>
                <a:cs typeface="Times New Roman"/>
              </a:rPr>
              <a:t>VBN2 – Change Free </a:t>
            </a:r>
            <a:r>
              <a:rPr sz="2000" spc="5" dirty="0">
                <a:latin typeface="Times New Roman"/>
                <a:cs typeface="Times New Roman"/>
              </a:rPr>
              <a:t>goods  </a:t>
            </a:r>
            <a:r>
              <a:rPr sz="2000" dirty="0">
                <a:latin typeface="Times New Roman"/>
                <a:cs typeface="Times New Roman"/>
              </a:rPr>
              <a:t>VBN3 – Display Free</a:t>
            </a:r>
            <a:r>
              <a:rPr sz="2000" spc="-13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Times New Roman"/>
                <a:cs typeface="Times New Roman"/>
              </a:rPr>
              <a:t>goods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733800" y="3810000"/>
            <a:ext cx="1066800" cy="609600"/>
          </a:xfrm>
          <a:custGeom>
            <a:avLst/>
            <a:gdLst/>
            <a:ahLst/>
            <a:cxnLst/>
            <a:rect l="l" t="t" r="r" b="b"/>
            <a:pathLst>
              <a:path w="1066800" h="609600">
                <a:moveTo>
                  <a:pt x="0" y="304800"/>
                </a:moveTo>
                <a:lnTo>
                  <a:pt x="12300" y="239431"/>
                </a:lnTo>
                <a:lnTo>
                  <a:pt x="47467" y="178940"/>
                </a:lnTo>
                <a:lnTo>
                  <a:pt x="102900" y="124815"/>
                </a:lnTo>
                <a:lnTo>
                  <a:pt x="137403" y="100606"/>
                </a:lnTo>
                <a:lnTo>
                  <a:pt x="175998" y="78548"/>
                </a:lnTo>
                <a:lnTo>
                  <a:pt x="218358" y="58826"/>
                </a:lnTo>
                <a:lnTo>
                  <a:pt x="264159" y="41627"/>
                </a:lnTo>
                <a:lnTo>
                  <a:pt x="313077" y="27138"/>
                </a:lnTo>
                <a:lnTo>
                  <a:pt x="364784" y="15544"/>
                </a:lnTo>
                <a:lnTo>
                  <a:pt x="418957" y="7032"/>
                </a:lnTo>
                <a:lnTo>
                  <a:pt x="475271" y="1789"/>
                </a:lnTo>
                <a:lnTo>
                  <a:pt x="533400" y="0"/>
                </a:lnTo>
                <a:lnTo>
                  <a:pt x="591528" y="1789"/>
                </a:lnTo>
                <a:lnTo>
                  <a:pt x="647842" y="7032"/>
                </a:lnTo>
                <a:lnTo>
                  <a:pt x="702015" y="15544"/>
                </a:lnTo>
                <a:lnTo>
                  <a:pt x="753722" y="27138"/>
                </a:lnTo>
                <a:lnTo>
                  <a:pt x="802639" y="41627"/>
                </a:lnTo>
                <a:lnTo>
                  <a:pt x="848441" y="58826"/>
                </a:lnTo>
                <a:lnTo>
                  <a:pt x="890801" y="78548"/>
                </a:lnTo>
                <a:lnTo>
                  <a:pt x="929396" y="100606"/>
                </a:lnTo>
                <a:lnTo>
                  <a:pt x="963899" y="124815"/>
                </a:lnTo>
                <a:lnTo>
                  <a:pt x="993986" y="150988"/>
                </a:lnTo>
                <a:lnTo>
                  <a:pt x="1039611" y="208483"/>
                </a:lnTo>
                <a:lnTo>
                  <a:pt x="1063670" y="271599"/>
                </a:lnTo>
                <a:lnTo>
                  <a:pt x="1066800" y="304800"/>
                </a:lnTo>
                <a:lnTo>
                  <a:pt x="1063670" y="338000"/>
                </a:lnTo>
                <a:lnTo>
                  <a:pt x="1054499" y="370168"/>
                </a:lnTo>
                <a:lnTo>
                  <a:pt x="1019332" y="430659"/>
                </a:lnTo>
                <a:lnTo>
                  <a:pt x="963899" y="484784"/>
                </a:lnTo>
                <a:lnTo>
                  <a:pt x="929396" y="508993"/>
                </a:lnTo>
                <a:lnTo>
                  <a:pt x="890801" y="531051"/>
                </a:lnTo>
                <a:lnTo>
                  <a:pt x="848441" y="550773"/>
                </a:lnTo>
                <a:lnTo>
                  <a:pt x="802640" y="567972"/>
                </a:lnTo>
                <a:lnTo>
                  <a:pt x="753722" y="582461"/>
                </a:lnTo>
                <a:lnTo>
                  <a:pt x="702015" y="594055"/>
                </a:lnTo>
                <a:lnTo>
                  <a:pt x="647842" y="602567"/>
                </a:lnTo>
                <a:lnTo>
                  <a:pt x="591528" y="607810"/>
                </a:lnTo>
                <a:lnTo>
                  <a:pt x="533400" y="609600"/>
                </a:lnTo>
                <a:lnTo>
                  <a:pt x="475271" y="607810"/>
                </a:lnTo>
                <a:lnTo>
                  <a:pt x="418957" y="602567"/>
                </a:lnTo>
                <a:lnTo>
                  <a:pt x="364784" y="594055"/>
                </a:lnTo>
                <a:lnTo>
                  <a:pt x="313077" y="582461"/>
                </a:lnTo>
                <a:lnTo>
                  <a:pt x="264160" y="567972"/>
                </a:lnTo>
                <a:lnTo>
                  <a:pt x="218358" y="550773"/>
                </a:lnTo>
                <a:lnTo>
                  <a:pt x="175998" y="531051"/>
                </a:lnTo>
                <a:lnTo>
                  <a:pt x="137403" y="508993"/>
                </a:lnTo>
                <a:lnTo>
                  <a:pt x="102900" y="484784"/>
                </a:lnTo>
                <a:lnTo>
                  <a:pt x="72813" y="458611"/>
                </a:lnTo>
                <a:lnTo>
                  <a:pt x="27188" y="401116"/>
                </a:lnTo>
                <a:lnTo>
                  <a:pt x="3129" y="338000"/>
                </a:lnTo>
                <a:lnTo>
                  <a:pt x="0" y="30480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105400" y="1447800"/>
            <a:ext cx="3352800" cy="2879725"/>
          </a:xfrm>
          <a:custGeom>
            <a:avLst/>
            <a:gdLst/>
            <a:ahLst/>
            <a:cxnLst/>
            <a:rect l="l" t="t" r="r" b="b"/>
            <a:pathLst>
              <a:path w="3352800" h="2879725">
                <a:moveTo>
                  <a:pt x="0" y="0"/>
                </a:moveTo>
                <a:lnTo>
                  <a:pt x="1955800" y="0"/>
                </a:lnTo>
                <a:lnTo>
                  <a:pt x="2794000" y="0"/>
                </a:lnTo>
                <a:lnTo>
                  <a:pt x="3352800" y="0"/>
                </a:lnTo>
                <a:lnTo>
                  <a:pt x="3352800" y="1022350"/>
                </a:lnTo>
                <a:lnTo>
                  <a:pt x="3352800" y="1460500"/>
                </a:lnTo>
                <a:lnTo>
                  <a:pt x="3352800" y="1752600"/>
                </a:lnTo>
                <a:lnTo>
                  <a:pt x="2794000" y="1752600"/>
                </a:lnTo>
                <a:lnTo>
                  <a:pt x="2585974" y="2879725"/>
                </a:lnTo>
                <a:lnTo>
                  <a:pt x="1955800" y="1752600"/>
                </a:lnTo>
                <a:lnTo>
                  <a:pt x="0" y="1752600"/>
                </a:lnTo>
                <a:lnTo>
                  <a:pt x="0" y="1460500"/>
                </a:lnTo>
                <a:lnTo>
                  <a:pt x="0" y="1022350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791200" y="4373626"/>
            <a:ext cx="2286000" cy="1798955"/>
          </a:xfrm>
          <a:custGeom>
            <a:avLst/>
            <a:gdLst/>
            <a:ahLst/>
            <a:cxnLst/>
            <a:rect l="l" t="t" r="r" b="b"/>
            <a:pathLst>
              <a:path w="2286000" h="1798954">
                <a:moveTo>
                  <a:pt x="0" y="1798574"/>
                </a:moveTo>
                <a:lnTo>
                  <a:pt x="381000" y="1798574"/>
                </a:lnTo>
                <a:lnTo>
                  <a:pt x="952500" y="1798574"/>
                </a:lnTo>
                <a:lnTo>
                  <a:pt x="2286000" y="1798574"/>
                </a:lnTo>
                <a:lnTo>
                  <a:pt x="2286000" y="1087374"/>
                </a:lnTo>
                <a:lnTo>
                  <a:pt x="2286000" y="782574"/>
                </a:lnTo>
                <a:lnTo>
                  <a:pt x="2286000" y="579374"/>
                </a:lnTo>
                <a:lnTo>
                  <a:pt x="952500" y="579374"/>
                </a:lnTo>
                <a:lnTo>
                  <a:pt x="879475" y="0"/>
                </a:lnTo>
                <a:lnTo>
                  <a:pt x="381000" y="579374"/>
                </a:lnTo>
                <a:lnTo>
                  <a:pt x="0" y="579374"/>
                </a:lnTo>
                <a:lnTo>
                  <a:pt x="0" y="782574"/>
                </a:lnTo>
                <a:lnTo>
                  <a:pt x="0" y="1087374"/>
                </a:lnTo>
                <a:lnTo>
                  <a:pt x="0" y="1798574"/>
                </a:lnTo>
                <a:close/>
              </a:path>
            </a:pathLst>
          </a:custGeom>
          <a:ln w="28574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33400" y="1828800"/>
            <a:ext cx="1219200" cy="609600"/>
          </a:xfrm>
          <a:custGeom>
            <a:avLst/>
            <a:gdLst/>
            <a:ahLst/>
            <a:cxnLst/>
            <a:rect l="l" t="t" r="r" b="b"/>
            <a:pathLst>
              <a:path w="1219200" h="609600">
                <a:moveTo>
                  <a:pt x="0" y="304800"/>
                </a:moveTo>
                <a:lnTo>
                  <a:pt x="12384" y="243389"/>
                </a:lnTo>
                <a:lnTo>
                  <a:pt x="47904" y="186183"/>
                </a:lnTo>
                <a:lnTo>
                  <a:pt x="104108" y="134410"/>
                </a:lnTo>
                <a:lnTo>
                  <a:pt x="139201" y="110944"/>
                </a:lnTo>
                <a:lnTo>
                  <a:pt x="178546" y="89296"/>
                </a:lnTo>
                <a:lnTo>
                  <a:pt x="221836" y="69621"/>
                </a:lnTo>
                <a:lnTo>
                  <a:pt x="268764" y="52071"/>
                </a:lnTo>
                <a:lnTo>
                  <a:pt x="319026" y="36800"/>
                </a:lnTo>
                <a:lnTo>
                  <a:pt x="372314" y="23961"/>
                </a:lnTo>
                <a:lnTo>
                  <a:pt x="428322" y="13708"/>
                </a:lnTo>
                <a:lnTo>
                  <a:pt x="486743" y="6194"/>
                </a:lnTo>
                <a:lnTo>
                  <a:pt x="547271" y="1574"/>
                </a:lnTo>
                <a:lnTo>
                  <a:pt x="609600" y="0"/>
                </a:lnTo>
                <a:lnTo>
                  <a:pt x="671928" y="1574"/>
                </a:lnTo>
                <a:lnTo>
                  <a:pt x="732456" y="6194"/>
                </a:lnTo>
                <a:lnTo>
                  <a:pt x="790877" y="13708"/>
                </a:lnTo>
                <a:lnTo>
                  <a:pt x="846885" y="23961"/>
                </a:lnTo>
                <a:lnTo>
                  <a:pt x="900173" y="36800"/>
                </a:lnTo>
                <a:lnTo>
                  <a:pt x="950435" y="52071"/>
                </a:lnTo>
                <a:lnTo>
                  <a:pt x="997363" y="69621"/>
                </a:lnTo>
                <a:lnTo>
                  <a:pt x="1040653" y="89296"/>
                </a:lnTo>
                <a:lnTo>
                  <a:pt x="1079998" y="110944"/>
                </a:lnTo>
                <a:lnTo>
                  <a:pt x="1115091" y="134410"/>
                </a:lnTo>
                <a:lnTo>
                  <a:pt x="1145625" y="159541"/>
                </a:lnTo>
                <a:lnTo>
                  <a:pt x="1191793" y="214184"/>
                </a:lnTo>
                <a:lnTo>
                  <a:pt x="1216052" y="273646"/>
                </a:lnTo>
                <a:lnTo>
                  <a:pt x="1219200" y="304800"/>
                </a:lnTo>
                <a:lnTo>
                  <a:pt x="1216052" y="335953"/>
                </a:lnTo>
                <a:lnTo>
                  <a:pt x="1206815" y="366210"/>
                </a:lnTo>
                <a:lnTo>
                  <a:pt x="1171295" y="423416"/>
                </a:lnTo>
                <a:lnTo>
                  <a:pt x="1115091" y="475189"/>
                </a:lnTo>
                <a:lnTo>
                  <a:pt x="1079998" y="498655"/>
                </a:lnTo>
                <a:lnTo>
                  <a:pt x="1040653" y="520303"/>
                </a:lnTo>
                <a:lnTo>
                  <a:pt x="997363" y="539978"/>
                </a:lnTo>
                <a:lnTo>
                  <a:pt x="950435" y="557528"/>
                </a:lnTo>
                <a:lnTo>
                  <a:pt x="900173" y="572799"/>
                </a:lnTo>
                <a:lnTo>
                  <a:pt x="846885" y="585638"/>
                </a:lnTo>
                <a:lnTo>
                  <a:pt x="790877" y="595891"/>
                </a:lnTo>
                <a:lnTo>
                  <a:pt x="732456" y="603405"/>
                </a:lnTo>
                <a:lnTo>
                  <a:pt x="671928" y="608025"/>
                </a:lnTo>
                <a:lnTo>
                  <a:pt x="609600" y="609600"/>
                </a:lnTo>
                <a:lnTo>
                  <a:pt x="547271" y="608025"/>
                </a:lnTo>
                <a:lnTo>
                  <a:pt x="486743" y="603405"/>
                </a:lnTo>
                <a:lnTo>
                  <a:pt x="428322" y="595891"/>
                </a:lnTo>
                <a:lnTo>
                  <a:pt x="372314" y="585638"/>
                </a:lnTo>
                <a:lnTo>
                  <a:pt x="319026" y="572799"/>
                </a:lnTo>
                <a:lnTo>
                  <a:pt x="268764" y="557528"/>
                </a:lnTo>
                <a:lnTo>
                  <a:pt x="221836" y="539978"/>
                </a:lnTo>
                <a:lnTo>
                  <a:pt x="178546" y="520303"/>
                </a:lnTo>
                <a:lnTo>
                  <a:pt x="139201" y="498655"/>
                </a:lnTo>
                <a:lnTo>
                  <a:pt x="104108" y="475189"/>
                </a:lnTo>
                <a:lnTo>
                  <a:pt x="73574" y="450058"/>
                </a:lnTo>
                <a:lnTo>
                  <a:pt x="27406" y="395415"/>
                </a:lnTo>
                <a:lnTo>
                  <a:pt x="3147" y="335953"/>
                </a:lnTo>
                <a:lnTo>
                  <a:pt x="0" y="30480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752345" y="1974850"/>
            <a:ext cx="1677035" cy="117475"/>
          </a:xfrm>
          <a:custGeom>
            <a:avLst/>
            <a:gdLst/>
            <a:ahLst/>
            <a:cxnLst/>
            <a:rect l="l" t="t" r="r" b="b"/>
            <a:pathLst>
              <a:path w="1677035" h="117475">
                <a:moveTo>
                  <a:pt x="1602232" y="41021"/>
                </a:moveTo>
                <a:lnTo>
                  <a:pt x="1600804" y="72700"/>
                </a:lnTo>
                <a:lnTo>
                  <a:pt x="1613534" y="73278"/>
                </a:lnTo>
                <a:lnTo>
                  <a:pt x="1612900" y="85978"/>
                </a:lnTo>
                <a:lnTo>
                  <a:pt x="1600205" y="85978"/>
                </a:lnTo>
                <a:lnTo>
                  <a:pt x="1598803" y="117094"/>
                </a:lnTo>
                <a:lnTo>
                  <a:pt x="1668926" y="85978"/>
                </a:lnTo>
                <a:lnTo>
                  <a:pt x="1612900" y="85978"/>
                </a:lnTo>
                <a:lnTo>
                  <a:pt x="1600231" y="85403"/>
                </a:lnTo>
                <a:lnTo>
                  <a:pt x="1670223" y="85403"/>
                </a:lnTo>
                <a:lnTo>
                  <a:pt x="1676654" y="82550"/>
                </a:lnTo>
                <a:lnTo>
                  <a:pt x="1602232" y="41021"/>
                </a:lnTo>
                <a:close/>
              </a:path>
              <a:path w="1677035" h="117475">
                <a:moveTo>
                  <a:pt x="1600804" y="72700"/>
                </a:moveTo>
                <a:lnTo>
                  <a:pt x="1600231" y="85403"/>
                </a:lnTo>
                <a:lnTo>
                  <a:pt x="1612900" y="85978"/>
                </a:lnTo>
                <a:lnTo>
                  <a:pt x="1613534" y="73278"/>
                </a:lnTo>
                <a:lnTo>
                  <a:pt x="1600804" y="72700"/>
                </a:lnTo>
                <a:close/>
              </a:path>
              <a:path w="1677035" h="117475">
                <a:moveTo>
                  <a:pt x="508" y="0"/>
                </a:moveTo>
                <a:lnTo>
                  <a:pt x="0" y="12700"/>
                </a:lnTo>
                <a:lnTo>
                  <a:pt x="1600231" y="85403"/>
                </a:lnTo>
                <a:lnTo>
                  <a:pt x="1600804" y="72700"/>
                </a:lnTo>
                <a:lnTo>
                  <a:pt x="50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581400" y="2057400"/>
            <a:ext cx="843915" cy="1679575"/>
          </a:xfrm>
          <a:custGeom>
            <a:avLst/>
            <a:gdLst/>
            <a:ahLst/>
            <a:cxnLst/>
            <a:rect l="l" t="t" r="r" b="b"/>
            <a:pathLst>
              <a:path w="843914" h="1679575">
                <a:moveTo>
                  <a:pt x="39711" y="65324"/>
                </a:moveTo>
                <a:lnTo>
                  <a:pt x="28386" y="70997"/>
                </a:lnTo>
                <a:lnTo>
                  <a:pt x="832485" y="1679194"/>
                </a:lnTo>
                <a:lnTo>
                  <a:pt x="843914" y="1673606"/>
                </a:lnTo>
                <a:lnTo>
                  <a:pt x="39711" y="65324"/>
                </a:lnTo>
                <a:close/>
              </a:path>
              <a:path w="843914" h="1679575">
                <a:moveTo>
                  <a:pt x="0" y="0"/>
                </a:moveTo>
                <a:lnTo>
                  <a:pt x="0" y="85216"/>
                </a:lnTo>
                <a:lnTo>
                  <a:pt x="28386" y="70997"/>
                </a:lnTo>
                <a:lnTo>
                  <a:pt x="22733" y="59689"/>
                </a:lnTo>
                <a:lnTo>
                  <a:pt x="34036" y="53975"/>
                </a:lnTo>
                <a:lnTo>
                  <a:pt x="62367" y="53975"/>
                </a:lnTo>
                <a:lnTo>
                  <a:pt x="68199" y="51053"/>
                </a:lnTo>
                <a:lnTo>
                  <a:pt x="0" y="0"/>
                </a:lnTo>
                <a:close/>
              </a:path>
              <a:path w="843914" h="1679575">
                <a:moveTo>
                  <a:pt x="34036" y="53975"/>
                </a:moveTo>
                <a:lnTo>
                  <a:pt x="22733" y="59689"/>
                </a:lnTo>
                <a:lnTo>
                  <a:pt x="28386" y="70997"/>
                </a:lnTo>
                <a:lnTo>
                  <a:pt x="39711" y="65324"/>
                </a:lnTo>
                <a:lnTo>
                  <a:pt x="34036" y="53975"/>
                </a:lnTo>
                <a:close/>
              </a:path>
              <a:path w="843914" h="1679575">
                <a:moveTo>
                  <a:pt x="62367" y="53975"/>
                </a:moveTo>
                <a:lnTo>
                  <a:pt x="34036" y="53975"/>
                </a:lnTo>
                <a:lnTo>
                  <a:pt x="39711" y="65324"/>
                </a:lnTo>
                <a:lnTo>
                  <a:pt x="62367" y="539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048000" y="1905063"/>
            <a:ext cx="1143000" cy="287655"/>
          </a:xfrm>
          <a:custGeom>
            <a:avLst/>
            <a:gdLst/>
            <a:ahLst/>
            <a:cxnLst/>
            <a:rect l="l" t="t" r="r" b="b"/>
            <a:pathLst>
              <a:path w="1143000" h="287655">
                <a:moveTo>
                  <a:pt x="0" y="287337"/>
                </a:moveTo>
                <a:lnTo>
                  <a:pt x="1143000" y="287337"/>
                </a:lnTo>
                <a:lnTo>
                  <a:pt x="1143000" y="0"/>
                </a:lnTo>
                <a:lnTo>
                  <a:pt x="0" y="0"/>
                </a:lnTo>
                <a:lnTo>
                  <a:pt x="0" y="28733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3048000" y="1905000"/>
            <a:ext cx="1143000" cy="299720"/>
          </a:xfrm>
          <a:prstGeom prst="rect">
            <a:avLst/>
          </a:prstGeom>
          <a:solidFill>
            <a:srgbClr val="808080"/>
          </a:solidFill>
          <a:ln w="12700">
            <a:solidFill>
              <a:srgbClr val="000000"/>
            </a:solidFill>
          </a:ln>
        </p:spPr>
        <p:txBody>
          <a:bodyPr vert="horz" wrap="square" lIns="0" tIns="34925" rIns="0" bIns="0" rtlCol="0">
            <a:spAutoFit/>
          </a:bodyPr>
          <a:lstStyle/>
          <a:p>
            <a:pPr marL="85725">
              <a:lnSpc>
                <a:spcPct val="100000"/>
              </a:lnSpc>
              <a:spcBef>
                <a:spcPts val="275"/>
              </a:spcBef>
            </a:pPr>
            <a:r>
              <a:rPr sz="1200" spc="-5" dirty="0">
                <a:solidFill>
                  <a:srgbClr val="FFFFFF"/>
                </a:solidFill>
                <a:latin typeface="Times New Roman"/>
                <a:cs typeface="Times New Roman"/>
              </a:rPr>
              <a:t>Screen</a:t>
            </a:r>
            <a:r>
              <a:rPr sz="1200" spc="-8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display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4343400" y="3733800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762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6220967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Cross</a:t>
            </a:r>
            <a:r>
              <a:rPr spc="-70" dirty="0"/>
              <a:t> </a:t>
            </a:r>
            <a:r>
              <a:rPr dirty="0"/>
              <a:t>Selling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533400" y="4341812"/>
            <a:ext cx="8050530" cy="1739900"/>
          </a:xfrm>
          <a:prstGeom prst="rect">
            <a:avLst/>
          </a:prstGeom>
          <a:solidFill>
            <a:srgbClr val="ADB5FB"/>
          </a:solidFill>
        </p:spPr>
        <p:txBody>
          <a:bodyPr vert="horz" wrap="square" lIns="0" tIns="41910" rIns="0" bIns="0" rtlCol="0">
            <a:spAutoFit/>
          </a:bodyPr>
          <a:lstStyle/>
          <a:p>
            <a:pPr marL="91440" marR="771525">
              <a:lnSpc>
                <a:spcPct val="100000"/>
              </a:lnSpc>
              <a:spcBef>
                <a:spcPts val="330"/>
              </a:spcBef>
              <a:buFont typeface="Arial"/>
              <a:buChar char="•"/>
              <a:tabLst>
                <a:tab pos="228600" algn="l"/>
              </a:tabLst>
            </a:pPr>
            <a:r>
              <a:rPr sz="1800" b="1" spc="-45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can set </a:t>
            </a:r>
            <a:r>
              <a:rPr sz="1800" b="1" dirty="0">
                <a:latin typeface="Arial"/>
                <a:cs typeface="Arial"/>
              </a:rPr>
              <a:t>up 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spc="-5" dirty="0">
                <a:latin typeface="Arial"/>
                <a:cs typeface="Arial"/>
              </a:rPr>
              <a:t>so </a:t>
            </a:r>
            <a:r>
              <a:rPr sz="1800" b="1" dirty="0">
                <a:latin typeface="Arial"/>
                <a:cs typeface="Arial"/>
              </a:rPr>
              <a:t>that if </a:t>
            </a:r>
            <a:r>
              <a:rPr sz="1800" b="1" spc="-5" dirty="0">
                <a:latin typeface="Arial"/>
                <a:cs typeface="Arial"/>
              </a:rPr>
              <a:t>a customer orders a specific  article, a </a:t>
            </a:r>
            <a:r>
              <a:rPr sz="1800" b="1" dirty="0">
                <a:latin typeface="Arial"/>
                <a:cs typeface="Arial"/>
              </a:rPr>
              <a:t>list of other </a:t>
            </a:r>
            <a:r>
              <a:rPr sz="1800" b="1" spc="-5" dirty="0">
                <a:latin typeface="Arial"/>
                <a:cs typeface="Arial"/>
              </a:rPr>
              <a:t>suggested articles appears as</a:t>
            </a:r>
            <a:r>
              <a:rPr sz="1800" b="1" spc="15" dirty="0">
                <a:latin typeface="Arial"/>
                <a:cs typeface="Arial"/>
              </a:rPr>
              <a:t> </a:t>
            </a:r>
            <a:r>
              <a:rPr sz="1800" b="1" spc="10" dirty="0">
                <a:latin typeface="Arial"/>
                <a:cs typeface="Arial"/>
              </a:rPr>
              <a:t>well.</a:t>
            </a:r>
            <a:endParaRPr sz="1800">
              <a:latin typeface="Arial"/>
              <a:cs typeface="Arial"/>
            </a:endParaRPr>
          </a:p>
          <a:p>
            <a:pPr marL="91440" marR="727075">
              <a:lnSpc>
                <a:spcPct val="100000"/>
              </a:lnSpc>
              <a:buFont typeface="Arial"/>
              <a:buChar char="•"/>
              <a:tabLst>
                <a:tab pos="233679" algn="l"/>
              </a:tabLst>
            </a:pPr>
            <a:r>
              <a:rPr sz="1800" b="1" spc="-5" dirty="0">
                <a:latin typeface="Arial"/>
                <a:cs typeface="Arial"/>
              </a:rPr>
              <a:t>Cross </a:t>
            </a:r>
            <a:r>
              <a:rPr sz="1800" b="1" dirty="0">
                <a:latin typeface="Arial"/>
                <a:cs typeface="Arial"/>
              </a:rPr>
              <a:t>selling </a:t>
            </a:r>
            <a:r>
              <a:rPr sz="1800" b="1" spc="-5" dirty="0">
                <a:latin typeface="Arial"/>
                <a:cs typeface="Arial"/>
              </a:rPr>
              <a:t>articles can be </a:t>
            </a:r>
            <a:r>
              <a:rPr sz="1800" b="1" spc="-10" dirty="0">
                <a:latin typeface="Arial"/>
                <a:cs typeface="Arial"/>
              </a:rPr>
              <a:t>delivered </a:t>
            </a:r>
            <a:r>
              <a:rPr sz="1800" b="1" dirty="0">
                <a:latin typeface="Arial"/>
                <a:cs typeface="Arial"/>
              </a:rPr>
              <a:t>independently of </a:t>
            </a:r>
            <a:r>
              <a:rPr sz="1800" b="1" spc="-5" dirty="0">
                <a:latin typeface="Arial"/>
                <a:cs typeface="Arial"/>
              </a:rPr>
              <a:t>their  corresponding main articles </a:t>
            </a:r>
            <a:r>
              <a:rPr sz="1800" b="1" dirty="0">
                <a:latin typeface="Arial"/>
                <a:cs typeface="Arial"/>
              </a:rPr>
              <a:t>in the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spc="-20" dirty="0">
                <a:latin typeface="Arial"/>
                <a:cs typeface="Arial"/>
              </a:rPr>
              <a:t>order, </a:t>
            </a:r>
            <a:r>
              <a:rPr sz="1800" b="1" spc="-5" dirty="0">
                <a:latin typeface="Arial"/>
                <a:cs typeface="Arial"/>
              </a:rPr>
              <a:t>or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cross </a:t>
            </a:r>
            <a:r>
              <a:rPr sz="1800" b="1" dirty="0">
                <a:latin typeface="Arial"/>
                <a:cs typeface="Arial"/>
              </a:rPr>
              <a:t>selling  </a:t>
            </a:r>
            <a:r>
              <a:rPr sz="1800" b="1" spc="-5" dirty="0">
                <a:latin typeface="Arial"/>
                <a:cs typeface="Arial"/>
              </a:rPr>
              <a:t>articles can </a:t>
            </a:r>
            <a:r>
              <a:rPr sz="1800" b="1" dirty="0">
                <a:latin typeface="Arial"/>
                <a:cs typeface="Arial"/>
              </a:rPr>
              <a:t>only be shipped </a:t>
            </a:r>
            <a:r>
              <a:rPr sz="1800" b="1" spc="-5" dirty="0">
                <a:latin typeface="Arial"/>
                <a:cs typeface="Arial"/>
              </a:rPr>
              <a:t>either </a:t>
            </a:r>
            <a:r>
              <a:rPr sz="1800" b="1" dirty="0">
                <a:latin typeface="Arial"/>
                <a:cs typeface="Arial"/>
              </a:rPr>
              <a:t>together </a:t>
            </a:r>
            <a:r>
              <a:rPr sz="1800" b="1" spc="5" dirty="0">
                <a:latin typeface="Arial"/>
                <a:cs typeface="Arial"/>
              </a:rPr>
              <a:t>with </a:t>
            </a:r>
            <a:r>
              <a:rPr sz="1800" b="1" spc="-5" dirty="0">
                <a:latin typeface="Arial"/>
                <a:cs typeface="Arial"/>
              </a:rPr>
              <a:t>or after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main  articles </a:t>
            </a:r>
            <a:r>
              <a:rPr sz="1800" b="1" spc="-15" dirty="0">
                <a:latin typeface="Arial"/>
                <a:cs typeface="Arial"/>
              </a:rPr>
              <a:t>have </a:t>
            </a:r>
            <a:r>
              <a:rPr sz="1800" b="1" spc="-5" dirty="0">
                <a:latin typeface="Arial"/>
                <a:cs typeface="Arial"/>
              </a:rPr>
              <a:t>been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hipped.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191125" y="2438400"/>
            <a:ext cx="1133475" cy="6572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286125" y="2286000"/>
            <a:ext cx="1057275" cy="10572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391400" y="2286000"/>
            <a:ext cx="990600" cy="9906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92721" y="1501735"/>
            <a:ext cx="2375985" cy="26516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806445" y="2612644"/>
            <a:ext cx="17081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+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76750" y="2552319"/>
            <a:ext cx="17081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+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686804" y="2552319"/>
            <a:ext cx="17081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+</a:t>
            </a:r>
            <a:endParaRPr sz="20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6220967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Cross</a:t>
            </a:r>
            <a:r>
              <a:rPr spc="-70" dirty="0"/>
              <a:t> </a:t>
            </a:r>
            <a:r>
              <a:rPr dirty="0"/>
              <a:t>Selling</a:t>
            </a:r>
          </a:p>
        </p:txBody>
      </p:sp>
      <p:sp>
        <p:nvSpPr>
          <p:cNvPr id="8" name="object 8"/>
          <p:cNvSpPr/>
          <p:nvPr/>
        </p:nvSpPr>
        <p:spPr>
          <a:xfrm>
            <a:off x="689444" y="1145921"/>
            <a:ext cx="7463917" cy="41118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71512" y="1128649"/>
            <a:ext cx="7496175" cy="4143375"/>
          </a:xfrm>
          <a:custGeom>
            <a:avLst/>
            <a:gdLst/>
            <a:ahLst/>
            <a:cxnLst/>
            <a:rect l="l" t="t" r="r" b="b"/>
            <a:pathLst>
              <a:path w="7496175" h="4143375">
                <a:moveTo>
                  <a:pt x="0" y="4143375"/>
                </a:moveTo>
                <a:lnTo>
                  <a:pt x="7496175" y="4143375"/>
                </a:lnTo>
                <a:lnTo>
                  <a:pt x="7496175" y="0"/>
                </a:lnTo>
                <a:lnTo>
                  <a:pt x="0" y="0"/>
                </a:lnTo>
                <a:lnTo>
                  <a:pt x="0" y="4143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510273" y="2133600"/>
            <a:ext cx="85725" cy="685800"/>
          </a:xfrm>
          <a:custGeom>
            <a:avLst/>
            <a:gdLst/>
            <a:ahLst/>
            <a:cxnLst/>
            <a:rect l="l" t="t" r="r" b="b"/>
            <a:pathLst>
              <a:path w="85725" h="685800">
                <a:moveTo>
                  <a:pt x="57150" y="71374"/>
                </a:moveTo>
                <a:lnTo>
                  <a:pt x="28575" y="71374"/>
                </a:lnTo>
                <a:lnTo>
                  <a:pt x="28575" y="685800"/>
                </a:lnTo>
                <a:lnTo>
                  <a:pt x="57150" y="685800"/>
                </a:lnTo>
                <a:lnTo>
                  <a:pt x="57150" y="71374"/>
                </a:lnTo>
                <a:close/>
              </a:path>
              <a:path w="85725" h="685800">
                <a:moveTo>
                  <a:pt x="42925" y="0"/>
                </a:moveTo>
                <a:lnTo>
                  <a:pt x="0" y="85725"/>
                </a:lnTo>
                <a:lnTo>
                  <a:pt x="28575" y="85725"/>
                </a:lnTo>
                <a:lnTo>
                  <a:pt x="28575" y="71374"/>
                </a:lnTo>
                <a:lnTo>
                  <a:pt x="78560" y="71374"/>
                </a:lnTo>
                <a:lnTo>
                  <a:pt x="42925" y="0"/>
                </a:lnTo>
                <a:close/>
              </a:path>
              <a:path w="85725" h="685800">
                <a:moveTo>
                  <a:pt x="78560" y="71374"/>
                </a:moveTo>
                <a:lnTo>
                  <a:pt x="57150" y="71374"/>
                </a:lnTo>
                <a:lnTo>
                  <a:pt x="57150" y="85725"/>
                </a:lnTo>
                <a:lnTo>
                  <a:pt x="85725" y="85725"/>
                </a:lnTo>
                <a:lnTo>
                  <a:pt x="78560" y="71374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83793" y="5296153"/>
            <a:ext cx="3100070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41 – </a:t>
            </a:r>
            <a:r>
              <a:rPr sz="2000" spc="-5" dirty="0">
                <a:latin typeface="Times New Roman"/>
                <a:cs typeface="Times New Roman"/>
              </a:rPr>
              <a:t>Create </a:t>
            </a:r>
            <a:r>
              <a:rPr sz="2000" dirty="0">
                <a:latin typeface="Times New Roman"/>
                <a:cs typeface="Times New Roman"/>
              </a:rPr>
              <a:t>Cross </a:t>
            </a:r>
            <a:r>
              <a:rPr sz="2000" spc="-5" dirty="0">
                <a:latin typeface="Times New Roman"/>
                <a:cs typeface="Times New Roman"/>
              </a:rPr>
              <a:t>Selling  </a:t>
            </a:r>
            <a:r>
              <a:rPr sz="2000" dirty="0">
                <a:latin typeface="Times New Roman"/>
                <a:cs typeface="Times New Roman"/>
              </a:rPr>
              <a:t>VB42 – Change Cross</a:t>
            </a:r>
            <a:r>
              <a:rPr sz="2000" spc="-12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elling  VB43 – Display Cross</a:t>
            </a:r>
            <a:r>
              <a:rPr sz="2000" spc="-14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elling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41775" y="5375452"/>
            <a:ext cx="4814570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can </a:t>
            </a:r>
            <a:r>
              <a:rPr sz="1800" dirty="0">
                <a:latin typeface="Arial"/>
                <a:cs typeface="Arial"/>
              </a:rPr>
              <a:t>set </a:t>
            </a:r>
            <a:r>
              <a:rPr sz="1800" spc="-5" dirty="0">
                <a:latin typeface="Arial"/>
                <a:cs typeface="Arial"/>
              </a:rPr>
              <a:t>up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ystem so that if a customer  orders a specific article, a list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other  suggested articles </a:t>
            </a:r>
            <a:r>
              <a:rPr sz="1800" spc="-10" dirty="0">
                <a:latin typeface="Arial"/>
                <a:cs typeface="Arial"/>
              </a:rPr>
              <a:t>appears </a:t>
            </a:r>
            <a:r>
              <a:rPr sz="1800" spc="-5" dirty="0">
                <a:latin typeface="Arial"/>
                <a:cs typeface="Arial"/>
              </a:rPr>
              <a:t>as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well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2491739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674607" y="260604"/>
            <a:ext cx="469392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Material</a:t>
            </a:r>
            <a:r>
              <a:rPr spc="-60" dirty="0"/>
              <a:t> </a:t>
            </a:r>
            <a:r>
              <a:rPr dirty="0"/>
              <a:t>Determination</a:t>
            </a:r>
          </a:p>
        </p:txBody>
      </p:sp>
      <p:sp>
        <p:nvSpPr>
          <p:cNvPr id="8" name="object 8"/>
          <p:cNvSpPr/>
          <p:nvPr/>
        </p:nvSpPr>
        <p:spPr>
          <a:xfrm>
            <a:off x="533400" y="2278126"/>
            <a:ext cx="8050530" cy="3967479"/>
          </a:xfrm>
          <a:custGeom>
            <a:avLst/>
            <a:gdLst/>
            <a:ahLst/>
            <a:cxnLst/>
            <a:rect l="l" t="t" r="r" b="b"/>
            <a:pathLst>
              <a:path w="8050530" h="3967479">
                <a:moveTo>
                  <a:pt x="0" y="3967099"/>
                </a:moveTo>
                <a:lnTo>
                  <a:pt x="8050276" y="3967099"/>
                </a:lnTo>
                <a:lnTo>
                  <a:pt x="8050276" y="0"/>
                </a:lnTo>
                <a:lnTo>
                  <a:pt x="0" y="0"/>
                </a:lnTo>
                <a:lnTo>
                  <a:pt x="0" y="3967099"/>
                </a:lnTo>
                <a:close/>
              </a:path>
            </a:pathLst>
          </a:custGeom>
          <a:solidFill>
            <a:srgbClr val="ADB5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562600" y="1219200"/>
            <a:ext cx="952500" cy="8667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209800" y="1219200"/>
            <a:ext cx="923925" cy="8667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12140" y="1423289"/>
            <a:ext cx="7875905" cy="47796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1069975" algn="ctr">
              <a:lnSpc>
                <a:spcPct val="100000"/>
              </a:lnSpc>
            </a:pPr>
            <a:r>
              <a:rPr sz="2000" dirty="0">
                <a:latin typeface="Wingdings"/>
                <a:cs typeface="Wingdings"/>
              </a:rPr>
              <a:t></a:t>
            </a:r>
            <a:endParaRPr sz="2000">
              <a:latin typeface="Wingdings"/>
              <a:cs typeface="Wingdings"/>
            </a:endParaRPr>
          </a:p>
          <a:p>
            <a:pPr>
              <a:lnSpc>
                <a:spcPct val="100000"/>
              </a:lnSpc>
            </a:pPr>
            <a:endParaRPr sz="2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2200">
              <a:latin typeface="Times New Roman"/>
              <a:cs typeface="Times New Roman"/>
            </a:endParaRPr>
          </a:p>
          <a:p>
            <a:pPr marL="163195" indent="-150495">
              <a:lnSpc>
                <a:spcPct val="100000"/>
              </a:lnSpc>
              <a:spcBef>
                <a:spcPts val="5"/>
              </a:spcBef>
              <a:buSzPct val="111111"/>
              <a:buFont typeface="Times New Roman"/>
              <a:buChar char="•"/>
              <a:tabLst>
                <a:tab pos="163830" algn="l"/>
              </a:tabLst>
            </a:pPr>
            <a:r>
              <a:rPr sz="1800" b="1" spc="-5" dirty="0">
                <a:latin typeface="Arial"/>
                <a:cs typeface="Arial"/>
              </a:rPr>
              <a:t>Material determination enable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automatic </a:t>
            </a:r>
            <a:r>
              <a:rPr sz="1800" b="1" dirty="0">
                <a:latin typeface="Arial"/>
                <a:cs typeface="Arial"/>
              </a:rPr>
              <a:t>substitution of</a:t>
            </a:r>
            <a:r>
              <a:rPr sz="1800" b="1" spc="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aterials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z="1800" b="1" dirty="0">
                <a:latin typeface="Arial"/>
                <a:cs typeface="Arial"/>
              </a:rPr>
              <a:t>in </a:t>
            </a:r>
            <a:r>
              <a:rPr sz="1800" b="1" spc="-5" dirty="0">
                <a:latin typeface="Arial"/>
                <a:cs typeface="Arial"/>
              </a:rPr>
              <a:t>sales documents </a:t>
            </a:r>
            <a:r>
              <a:rPr sz="1800" b="1" dirty="0">
                <a:latin typeface="Arial"/>
                <a:cs typeface="Arial"/>
              </a:rPr>
              <a:t>during </a:t>
            </a:r>
            <a:r>
              <a:rPr sz="1800" b="1" spc="-5" dirty="0">
                <a:latin typeface="Arial"/>
                <a:cs typeface="Arial"/>
              </a:rPr>
              <a:t>sales order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rocessing.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spc="-40" dirty="0">
                <a:latin typeface="Arial"/>
                <a:cs typeface="Arial"/>
              </a:rPr>
              <a:t>•</a:t>
            </a:r>
            <a:r>
              <a:rPr sz="1800" b="1" spc="-40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may </a:t>
            </a:r>
            <a:r>
              <a:rPr sz="1800" b="1" spc="10" dirty="0">
                <a:latin typeface="Arial"/>
                <a:cs typeface="Arial"/>
              </a:rPr>
              <a:t>wish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use Material Determination </a:t>
            </a:r>
            <a:r>
              <a:rPr sz="1800" b="1" dirty="0">
                <a:latin typeface="Arial"/>
                <a:cs typeface="Arial"/>
              </a:rPr>
              <a:t>for:</a:t>
            </a:r>
            <a:endParaRPr sz="1800">
              <a:latin typeface="Arial"/>
              <a:cs typeface="Arial"/>
            </a:endParaRPr>
          </a:p>
          <a:p>
            <a:pPr marL="469900" marR="605790" lvl="1">
              <a:lnSpc>
                <a:spcPct val="100000"/>
              </a:lnSpc>
              <a:buFont typeface="Wingdings"/>
              <a:buChar char=""/>
              <a:tabLst>
                <a:tab pos="735330" algn="l"/>
              </a:tabLst>
            </a:pPr>
            <a:r>
              <a:rPr sz="1800" b="1" spc="-5" dirty="0">
                <a:latin typeface="Arial"/>
                <a:cs typeface="Arial"/>
              </a:rPr>
              <a:t>Replacing a standard </a:t>
            </a:r>
            <a:r>
              <a:rPr sz="1800" b="1" dirty="0">
                <a:latin typeface="Arial"/>
                <a:cs typeface="Arial"/>
              </a:rPr>
              <a:t>product </a:t>
            </a:r>
            <a:r>
              <a:rPr sz="1800" b="1" spc="10" dirty="0">
                <a:latin typeface="Arial"/>
                <a:cs typeface="Arial"/>
              </a:rPr>
              <a:t>with </a:t>
            </a:r>
            <a:r>
              <a:rPr sz="1800" b="1" dirty="0">
                <a:latin typeface="Arial"/>
                <a:cs typeface="Arial"/>
              </a:rPr>
              <a:t>the one </a:t>
            </a:r>
            <a:r>
              <a:rPr sz="1800" b="1" spc="5" dirty="0">
                <a:latin typeface="Arial"/>
                <a:cs typeface="Arial"/>
              </a:rPr>
              <a:t>with</a:t>
            </a:r>
            <a:r>
              <a:rPr sz="1800" b="1" spc="-114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promotional  </a:t>
            </a:r>
            <a:r>
              <a:rPr sz="1800" b="1" spc="-5" dirty="0">
                <a:latin typeface="Arial"/>
                <a:cs typeface="Arial"/>
              </a:rPr>
              <a:t>packing</a:t>
            </a:r>
            <a:endParaRPr sz="1800">
              <a:latin typeface="Arial"/>
              <a:cs typeface="Arial"/>
            </a:endParaRPr>
          </a:p>
          <a:p>
            <a:pPr marL="735330" lvl="1" indent="-265430">
              <a:lnSpc>
                <a:spcPct val="100000"/>
              </a:lnSpc>
              <a:buFont typeface="Wingdings"/>
              <a:buChar char=""/>
              <a:tabLst>
                <a:tab pos="735330" algn="l"/>
              </a:tabLst>
            </a:pPr>
            <a:r>
              <a:rPr sz="1800" b="1" dirty="0">
                <a:latin typeface="Arial"/>
                <a:cs typeface="Arial"/>
              </a:rPr>
              <a:t>Substituting discontinued </a:t>
            </a:r>
            <a:r>
              <a:rPr sz="1800" b="1" spc="-5" dirty="0">
                <a:latin typeface="Arial"/>
                <a:cs typeface="Arial"/>
              </a:rPr>
              <a:t>materials </a:t>
            </a:r>
            <a:r>
              <a:rPr sz="1800" b="1" spc="10" dirty="0">
                <a:latin typeface="Arial"/>
                <a:cs typeface="Arial"/>
              </a:rPr>
              <a:t>with </a:t>
            </a:r>
            <a:r>
              <a:rPr sz="1800" b="1" spc="5" dirty="0">
                <a:latin typeface="Arial"/>
                <a:cs typeface="Arial"/>
              </a:rPr>
              <a:t>newer</a:t>
            </a:r>
            <a:r>
              <a:rPr sz="1800" b="1" spc="-15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aterials</a:t>
            </a:r>
            <a:endParaRPr sz="1800">
              <a:latin typeface="Arial"/>
              <a:cs typeface="Arial"/>
            </a:endParaRPr>
          </a:p>
          <a:p>
            <a:pPr marL="12700" marR="38100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dirty="0">
                <a:latin typeface="Arial"/>
                <a:cs typeface="Arial"/>
              </a:rPr>
              <a:t>When </a:t>
            </a:r>
            <a:r>
              <a:rPr sz="1800" b="1" spc="-10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enter </a:t>
            </a:r>
            <a:r>
              <a:rPr sz="1800" b="1" dirty="0">
                <a:latin typeface="Arial"/>
                <a:cs typeface="Arial"/>
              </a:rPr>
              <a:t>a </a:t>
            </a: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in a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spc="-20" dirty="0">
                <a:latin typeface="Arial"/>
                <a:cs typeface="Arial"/>
              </a:rPr>
              <a:t>order,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spc="-5" dirty="0">
                <a:latin typeface="Arial"/>
                <a:cs typeface="Arial"/>
              </a:rPr>
              <a:t>checks </a:t>
            </a:r>
            <a:r>
              <a:rPr sz="1800" b="1" dirty="0">
                <a:latin typeface="Arial"/>
                <a:cs typeface="Arial"/>
              </a:rPr>
              <a:t>whether  </a:t>
            </a:r>
            <a:r>
              <a:rPr sz="1800" b="1" spc="-10" dirty="0">
                <a:latin typeface="Arial"/>
                <a:cs typeface="Arial"/>
              </a:rPr>
              <a:t>you </a:t>
            </a:r>
            <a:r>
              <a:rPr sz="1800" b="1" spc="-15" dirty="0">
                <a:latin typeface="Arial"/>
                <a:cs typeface="Arial"/>
              </a:rPr>
              <a:t>have </a:t>
            </a:r>
            <a:r>
              <a:rPr sz="1800" b="1" spc="-5" dirty="0">
                <a:latin typeface="Arial"/>
                <a:cs typeface="Arial"/>
              </a:rPr>
              <a:t>set </a:t>
            </a:r>
            <a:r>
              <a:rPr sz="1800" b="1" dirty="0">
                <a:latin typeface="Arial"/>
                <a:cs typeface="Arial"/>
              </a:rPr>
              <a:t>up product </a:t>
            </a:r>
            <a:r>
              <a:rPr sz="1800" b="1" spc="-5" dirty="0">
                <a:latin typeface="Arial"/>
                <a:cs typeface="Arial"/>
              </a:rPr>
              <a:t>selection for </a:t>
            </a:r>
            <a:r>
              <a:rPr sz="1800" b="1" dirty="0">
                <a:latin typeface="Arial"/>
                <a:cs typeface="Arial"/>
              </a:rPr>
              <a:t>this </a:t>
            </a:r>
            <a:r>
              <a:rPr sz="1800" b="1" spc="-5" dirty="0">
                <a:latin typeface="Arial"/>
                <a:cs typeface="Arial"/>
              </a:rPr>
              <a:t>material. </a:t>
            </a:r>
            <a:r>
              <a:rPr sz="1800" b="1" dirty="0">
                <a:latin typeface="Arial"/>
                <a:cs typeface="Arial"/>
              </a:rPr>
              <a:t>If so, it </a:t>
            </a:r>
            <a:r>
              <a:rPr sz="1800" b="1" spc="-5" dirty="0">
                <a:latin typeface="Arial"/>
                <a:cs typeface="Arial"/>
              </a:rPr>
              <a:t>creates a </a:t>
            </a:r>
            <a:r>
              <a:rPr sz="1800" b="1" dirty="0">
                <a:latin typeface="Arial"/>
                <a:cs typeface="Arial"/>
              </a:rPr>
              <a:t>list  of </a:t>
            </a:r>
            <a:r>
              <a:rPr sz="1800" b="1" spc="-5" dirty="0">
                <a:latin typeface="Arial"/>
                <a:cs typeface="Arial"/>
              </a:rPr>
              <a:t>possible alternatives, checking each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determine current stock  </a:t>
            </a:r>
            <a:r>
              <a:rPr sz="1800" b="1" spc="-15" dirty="0">
                <a:latin typeface="Arial"/>
                <a:cs typeface="Arial"/>
              </a:rPr>
              <a:t>availability,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5" dirty="0">
                <a:latin typeface="Arial"/>
                <a:cs typeface="Arial"/>
              </a:rPr>
              <a:t>whether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customer </a:t>
            </a:r>
            <a:r>
              <a:rPr sz="1800" b="1" spc="5" dirty="0">
                <a:latin typeface="Arial"/>
                <a:cs typeface="Arial"/>
              </a:rPr>
              <a:t>would </a:t>
            </a:r>
            <a:r>
              <a:rPr sz="1800" b="1" spc="-5" dirty="0">
                <a:latin typeface="Arial"/>
                <a:cs typeface="Arial"/>
              </a:rPr>
              <a:t>accept </a:t>
            </a:r>
            <a:r>
              <a:rPr sz="1800" b="1" dirty="0">
                <a:latin typeface="Arial"/>
                <a:cs typeface="Arial"/>
              </a:rPr>
              <a:t>it </a:t>
            </a:r>
            <a:r>
              <a:rPr sz="1800" b="1" spc="-5" dirty="0">
                <a:latin typeface="Arial"/>
                <a:cs typeface="Arial"/>
              </a:rPr>
              <a:t>based </a:t>
            </a:r>
            <a:r>
              <a:rPr sz="1800" b="1" dirty="0">
                <a:latin typeface="Arial"/>
                <a:cs typeface="Arial"/>
              </a:rPr>
              <a:t>on the  product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ttributes.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each </a:t>
            </a:r>
            <a:r>
              <a:rPr sz="1800" b="1" spc="-10" dirty="0">
                <a:latin typeface="Arial"/>
                <a:cs typeface="Arial"/>
              </a:rPr>
              <a:t>valid </a:t>
            </a:r>
            <a:r>
              <a:rPr sz="1800" b="1" dirty="0">
                <a:latin typeface="Arial"/>
                <a:cs typeface="Arial"/>
              </a:rPr>
              <a:t>substitute that if finds, 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spc="-5" dirty="0">
                <a:latin typeface="Arial"/>
                <a:cs typeface="Arial"/>
              </a:rPr>
              <a:t>creates a</a:t>
            </a:r>
            <a:r>
              <a:rPr sz="1800" b="1" spc="5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ub-item.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•</a:t>
            </a:r>
            <a:r>
              <a:rPr sz="1800" b="1" spc="-5" dirty="0">
                <a:latin typeface="Arial"/>
                <a:cs typeface="Arial"/>
              </a:rPr>
              <a:t>The </a:t>
            </a:r>
            <a:r>
              <a:rPr sz="1800" b="1" spc="-10" dirty="0">
                <a:latin typeface="Arial"/>
                <a:cs typeface="Arial"/>
              </a:rPr>
              <a:t>system can </a:t>
            </a:r>
            <a:r>
              <a:rPr sz="1800" b="1" spc="-5" dirty="0">
                <a:latin typeface="Arial"/>
                <a:cs typeface="Arial"/>
              </a:rPr>
              <a:t>re-determine product </a:t>
            </a:r>
            <a:r>
              <a:rPr sz="1800" b="1" dirty="0">
                <a:latin typeface="Arial"/>
                <a:cs typeface="Arial"/>
              </a:rPr>
              <a:t>substitutions </a:t>
            </a:r>
            <a:r>
              <a:rPr sz="1800" b="1" spc="5" dirty="0">
                <a:latin typeface="Arial"/>
                <a:cs typeface="Arial"/>
              </a:rPr>
              <a:t>when </a:t>
            </a:r>
            <a:r>
              <a:rPr sz="1800" b="1" spc="-5" dirty="0">
                <a:latin typeface="Arial"/>
                <a:cs typeface="Arial"/>
              </a:rPr>
              <a:t>copying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them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from sales order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10" dirty="0">
                <a:latin typeface="Arial"/>
                <a:cs typeface="Arial"/>
              </a:rPr>
              <a:t>deliveries</a:t>
            </a:r>
            <a:r>
              <a:rPr sz="1800" b="1" spc="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(optional)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638800" y="5715000"/>
            <a:ext cx="1905000" cy="304800"/>
          </a:xfrm>
          <a:custGeom>
            <a:avLst/>
            <a:gdLst/>
            <a:ahLst/>
            <a:cxnLst/>
            <a:rect l="l" t="t" r="r" b="b"/>
            <a:pathLst>
              <a:path w="1905000" h="304800">
                <a:moveTo>
                  <a:pt x="0" y="304800"/>
                </a:moveTo>
                <a:lnTo>
                  <a:pt x="1905000" y="304800"/>
                </a:lnTo>
                <a:lnTo>
                  <a:pt x="190500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219444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&amp;</a:t>
            </a:r>
            <a:r>
              <a:rPr spc="-55" dirty="0"/>
              <a:t> </a:t>
            </a:r>
            <a:r>
              <a:rPr dirty="0"/>
              <a:t>Distribution…?</a:t>
            </a:r>
          </a:p>
        </p:txBody>
      </p:sp>
      <p:sp>
        <p:nvSpPr>
          <p:cNvPr id="6" name="object 6"/>
          <p:cNvSpPr/>
          <p:nvPr/>
        </p:nvSpPr>
        <p:spPr>
          <a:xfrm>
            <a:off x="4264025" y="1098550"/>
            <a:ext cx="570230" cy="1249680"/>
          </a:xfrm>
          <a:custGeom>
            <a:avLst/>
            <a:gdLst/>
            <a:ahLst/>
            <a:cxnLst/>
            <a:rect l="l" t="t" r="r" b="b"/>
            <a:pathLst>
              <a:path w="570229" h="1249680">
                <a:moveTo>
                  <a:pt x="296925" y="0"/>
                </a:moveTo>
                <a:lnTo>
                  <a:pt x="255524" y="0"/>
                </a:lnTo>
                <a:lnTo>
                  <a:pt x="245999" y="1524"/>
                </a:lnTo>
                <a:lnTo>
                  <a:pt x="236474" y="3175"/>
                </a:lnTo>
                <a:lnTo>
                  <a:pt x="226949" y="6350"/>
                </a:lnTo>
                <a:lnTo>
                  <a:pt x="215900" y="6350"/>
                </a:lnTo>
                <a:lnTo>
                  <a:pt x="206375" y="9525"/>
                </a:lnTo>
                <a:lnTo>
                  <a:pt x="195199" y="11049"/>
                </a:lnTo>
                <a:lnTo>
                  <a:pt x="184150" y="15875"/>
                </a:lnTo>
                <a:lnTo>
                  <a:pt x="174625" y="19050"/>
                </a:lnTo>
                <a:lnTo>
                  <a:pt x="165100" y="23749"/>
                </a:lnTo>
                <a:lnTo>
                  <a:pt x="155575" y="28575"/>
                </a:lnTo>
                <a:lnTo>
                  <a:pt x="146050" y="34925"/>
                </a:lnTo>
                <a:lnTo>
                  <a:pt x="136525" y="39624"/>
                </a:lnTo>
                <a:lnTo>
                  <a:pt x="127000" y="47625"/>
                </a:lnTo>
                <a:lnTo>
                  <a:pt x="117475" y="53975"/>
                </a:lnTo>
                <a:lnTo>
                  <a:pt x="109474" y="63500"/>
                </a:lnTo>
                <a:lnTo>
                  <a:pt x="99949" y="71374"/>
                </a:lnTo>
                <a:lnTo>
                  <a:pt x="93599" y="80899"/>
                </a:lnTo>
                <a:lnTo>
                  <a:pt x="85725" y="90424"/>
                </a:lnTo>
                <a:lnTo>
                  <a:pt x="79375" y="101600"/>
                </a:lnTo>
                <a:lnTo>
                  <a:pt x="69850" y="111125"/>
                </a:lnTo>
                <a:lnTo>
                  <a:pt x="57150" y="136525"/>
                </a:lnTo>
                <a:lnTo>
                  <a:pt x="52324" y="150749"/>
                </a:lnTo>
                <a:lnTo>
                  <a:pt x="45974" y="166624"/>
                </a:lnTo>
                <a:lnTo>
                  <a:pt x="41275" y="180975"/>
                </a:lnTo>
                <a:lnTo>
                  <a:pt x="38100" y="188849"/>
                </a:lnTo>
                <a:lnTo>
                  <a:pt x="36449" y="196850"/>
                </a:lnTo>
                <a:lnTo>
                  <a:pt x="33274" y="206375"/>
                </a:lnTo>
                <a:lnTo>
                  <a:pt x="33274" y="215900"/>
                </a:lnTo>
                <a:lnTo>
                  <a:pt x="30099" y="223774"/>
                </a:lnTo>
                <a:lnTo>
                  <a:pt x="28575" y="231775"/>
                </a:lnTo>
                <a:lnTo>
                  <a:pt x="25400" y="241300"/>
                </a:lnTo>
                <a:lnTo>
                  <a:pt x="23749" y="250825"/>
                </a:lnTo>
                <a:lnTo>
                  <a:pt x="22225" y="260350"/>
                </a:lnTo>
                <a:lnTo>
                  <a:pt x="20574" y="269875"/>
                </a:lnTo>
                <a:lnTo>
                  <a:pt x="19050" y="280924"/>
                </a:lnTo>
                <a:lnTo>
                  <a:pt x="19050" y="292100"/>
                </a:lnTo>
                <a:lnTo>
                  <a:pt x="17399" y="301625"/>
                </a:lnTo>
                <a:lnTo>
                  <a:pt x="15875" y="311150"/>
                </a:lnTo>
                <a:lnTo>
                  <a:pt x="14224" y="322199"/>
                </a:lnTo>
                <a:lnTo>
                  <a:pt x="14224" y="336550"/>
                </a:lnTo>
                <a:lnTo>
                  <a:pt x="12700" y="346075"/>
                </a:lnTo>
                <a:lnTo>
                  <a:pt x="9525" y="358775"/>
                </a:lnTo>
                <a:lnTo>
                  <a:pt x="7874" y="369824"/>
                </a:lnTo>
                <a:lnTo>
                  <a:pt x="7786" y="393700"/>
                </a:lnTo>
                <a:lnTo>
                  <a:pt x="0" y="1239901"/>
                </a:lnTo>
                <a:lnTo>
                  <a:pt x="44450" y="1249426"/>
                </a:lnTo>
                <a:lnTo>
                  <a:pt x="42799" y="1244600"/>
                </a:lnTo>
                <a:lnTo>
                  <a:pt x="42799" y="1206500"/>
                </a:lnTo>
                <a:lnTo>
                  <a:pt x="41275" y="1195451"/>
                </a:lnTo>
                <a:lnTo>
                  <a:pt x="41275" y="984250"/>
                </a:lnTo>
                <a:lnTo>
                  <a:pt x="42799" y="973074"/>
                </a:lnTo>
                <a:lnTo>
                  <a:pt x="44450" y="968375"/>
                </a:lnTo>
                <a:lnTo>
                  <a:pt x="45974" y="393700"/>
                </a:lnTo>
                <a:lnTo>
                  <a:pt x="47625" y="379349"/>
                </a:lnTo>
                <a:lnTo>
                  <a:pt x="49149" y="366649"/>
                </a:lnTo>
                <a:lnTo>
                  <a:pt x="50800" y="352425"/>
                </a:lnTo>
                <a:lnTo>
                  <a:pt x="53975" y="339725"/>
                </a:lnTo>
                <a:lnTo>
                  <a:pt x="55499" y="323850"/>
                </a:lnTo>
                <a:lnTo>
                  <a:pt x="58674" y="309499"/>
                </a:lnTo>
                <a:lnTo>
                  <a:pt x="60325" y="295275"/>
                </a:lnTo>
                <a:lnTo>
                  <a:pt x="63500" y="282575"/>
                </a:lnTo>
                <a:lnTo>
                  <a:pt x="65024" y="268224"/>
                </a:lnTo>
                <a:lnTo>
                  <a:pt x="68199" y="254000"/>
                </a:lnTo>
                <a:lnTo>
                  <a:pt x="71374" y="239649"/>
                </a:lnTo>
                <a:lnTo>
                  <a:pt x="76200" y="225425"/>
                </a:lnTo>
                <a:lnTo>
                  <a:pt x="80899" y="211074"/>
                </a:lnTo>
                <a:lnTo>
                  <a:pt x="85725" y="196850"/>
                </a:lnTo>
                <a:lnTo>
                  <a:pt x="90424" y="184150"/>
                </a:lnTo>
                <a:lnTo>
                  <a:pt x="96774" y="172974"/>
                </a:lnTo>
                <a:lnTo>
                  <a:pt x="101600" y="157099"/>
                </a:lnTo>
                <a:lnTo>
                  <a:pt x="106299" y="146050"/>
                </a:lnTo>
                <a:lnTo>
                  <a:pt x="112649" y="133350"/>
                </a:lnTo>
                <a:lnTo>
                  <a:pt x="122174" y="123825"/>
                </a:lnTo>
                <a:lnTo>
                  <a:pt x="128524" y="112649"/>
                </a:lnTo>
                <a:lnTo>
                  <a:pt x="147574" y="93599"/>
                </a:lnTo>
                <a:lnTo>
                  <a:pt x="158750" y="85725"/>
                </a:lnTo>
                <a:lnTo>
                  <a:pt x="168275" y="76200"/>
                </a:lnTo>
                <a:lnTo>
                  <a:pt x="179324" y="69850"/>
                </a:lnTo>
                <a:lnTo>
                  <a:pt x="193675" y="63500"/>
                </a:lnTo>
                <a:lnTo>
                  <a:pt x="207899" y="58674"/>
                </a:lnTo>
                <a:lnTo>
                  <a:pt x="220599" y="53975"/>
                </a:lnTo>
                <a:lnTo>
                  <a:pt x="244475" y="49149"/>
                </a:lnTo>
                <a:lnTo>
                  <a:pt x="271399" y="49149"/>
                </a:lnTo>
                <a:lnTo>
                  <a:pt x="287400" y="47625"/>
                </a:lnTo>
                <a:lnTo>
                  <a:pt x="450337" y="47625"/>
                </a:lnTo>
                <a:lnTo>
                  <a:pt x="441325" y="41275"/>
                </a:lnTo>
                <a:lnTo>
                  <a:pt x="419100" y="30099"/>
                </a:lnTo>
                <a:lnTo>
                  <a:pt x="396875" y="20574"/>
                </a:lnTo>
                <a:lnTo>
                  <a:pt x="385825" y="17399"/>
                </a:lnTo>
                <a:lnTo>
                  <a:pt x="376300" y="12700"/>
                </a:lnTo>
                <a:lnTo>
                  <a:pt x="366775" y="11049"/>
                </a:lnTo>
                <a:lnTo>
                  <a:pt x="355600" y="7874"/>
                </a:lnTo>
                <a:lnTo>
                  <a:pt x="346075" y="6350"/>
                </a:lnTo>
                <a:lnTo>
                  <a:pt x="336550" y="4699"/>
                </a:lnTo>
                <a:lnTo>
                  <a:pt x="327025" y="3175"/>
                </a:lnTo>
                <a:lnTo>
                  <a:pt x="317500" y="1524"/>
                </a:lnTo>
                <a:lnTo>
                  <a:pt x="307975" y="1524"/>
                </a:lnTo>
                <a:lnTo>
                  <a:pt x="296925" y="0"/>
                </a:lnTo>
                <a:close/>
              </a:path>
              <a:path w="570229" h="1249680">
                <a:moveTo>
                  <a:pt x="450337" y="47625"/>
                </a:moveTo>
                <a:lnTo>
                  <a:pt x="303275" y="47625"/>
                </a:lnTo>
                <a:lnTo>
                  <a:pt x="317500" y="49149"/>
                </a:lnTo>
                <a:lnTo>
                  <a:pt x="333375" y="52324"/>
                </a:lnTo>
                <a:lnTo>
                  <a:pt x="346075" y="53975"/>
                </a:lnTo>
                <a:lnTo>
                  <a:pt x="361950" y="57150"/>
                </a:lnTo>
                <a:lnTo>
                  <a:pt x="387350" y="66675"/>
                </a:lnTo>
                <a:lnTo>
                  <a:pt x="396875" y="69850"/>
                </a:lnTo>
                <a:lnTo>
                  <a:pt x="408050" y="74549"/>
                </a:lnTo>
                <a:lnTo>
                  <a:pt x="427100" y="87249"/>
                </a:lnTo>
                <a:lnTo>
                  <a:pt x="434975" y="93599"/>
                </a:lnTo>
                <a:lnTo>
                  <a:pt x="444500" y="101600"/>
                </a:lnTo>
                <a:lnTo>
                  <a:pt x="452500" y="107950"/>
                </a:lnTo>
                <a:lnTo>
                  <a:pt x="460375" y="117475"/>
                </a:lnTo>
                <a:lnTo>
                  <a:pt x="465200" y="123825"/>
                </a:lnTo>
                <a:lnTo>
                  <a:pt x="471550" y="131699"/>
                </a:lnTo>
                <a:lnTo>
                  <a:pt x="476250" y="138049"/>
                </a:lnTo>
                <a:lnTo>
                  <a:pt x="482600" y="147574"/>
                </a:lnTo>
                <a:lnTo>
                  <a:pt x="485775" y="155575"/>
                </a:lnTo>
                <a:lnTo>
                  <a:pt x="490600" y="165100"/>
                </a:lnTo>
                <a:lnTo>
                  <a:pt x="495300" y="172974"/>
                </a:lnTo>
                <a:lnTo>
                  <a:pt x="500125" y="182499"/>
                </a:lnTo>
                <a:lnTo>
                  <a:pt x="504825" y="198374"/>
                </a:lnTo>
                <a:lnTo>
                  <a:pt x="511175" y="214249"/>
                </a:lnTo>
                <a:lnTo>
                  <a:pt x="517525" y="245999"/>
                </a:lnTo>
                <a:lnTo>
                  <a:pt x="517525" y="252349"/>
                </a:lnTo>
                <a:lnTo>
                  <a:pt x="520700" y="265049"/>
                </a:lnTo>
                <a:lnTo>
                  <a:pt x="520700" y="279400"/>
                </a:lnTo>
                <a:lnTo>
                  <a:pt x="522350" y="296799"/>
                </a:lnTo>
                <a:lnTo>
                  <a:pt x="522350" y="311150"/>
                </a:lnTo>
                <a:lnTo>
                  <a:pt x="523875" y="323850"/>
                </a:lnTo>
                <a:lnTo>
                  <a:pt x="523875" y="333375"/>
                </a:lnTo>
                <a:lnTo>
                  <a:pt x="525526" y="339725"/>
                </a:lnTo>
                <a:lnTo>
                  <a:pt x="569976" y="358775"/>
                </a:lnTo>
                <a:lnTo>
                  <a:pt x="566801" y="346075"/>
                </a:lnTo>
                <a:lnTo>
                  <a:pt x="566801" y="311150"/>
                </a:lnTo>
                <a:lnTo>
                  <a:pt x="565150" y="298450"/>
                </a:lnTo>
                <a:lnTo>
                  <a:pt x="563626" y="287274"/>
                </a:lnTo>
                <a:lnTo>
                  <a:pt x="563626" y="263525"/>
                </a:lnTo>
                <a:lnTo>
                  <a:pt x="558800" y="249174"/>
                </a:lnTo>
                <a:lnTo>
                  <a:pt x="557276" y="236474"/>
                </a:lnTo>
                <a:lnTo>
                  <a:pt x="555625" y="223774"/>
                </a:lnTo>
                <a:lnTo>
                  <a:pt x="554101" y="211074"/>
                </a:lnTo>
                <a:lnTo>
                  <a:pt x="549275" y="196850"/>
                </a:lnTo>
                <a:lnTo>
                  <a:pt x="546100" y="184150"/>
                </a:lnTo>
                <a:lnTo>
                  <a:pt x="541401" y="171450"/>
                </a:lnTo>
                <a:lnTo>
                  <a:pt x="538226" y="157099"/>
                </a:lnTo>
                <a:lnTo>
                  <a:pt x="528701" y="142875"/>
                </a:lnTo>
                <a:lnTo>
                  <a:pt x="522350" y="130175"/>
                </a:lnTo>
                <a:lnTo>
                  <a:pt x="514350" y="117475"/>
                </a:lnTo>
                <a:lnTo>
                  <a:pt x="508000" y="106299"/>
                </a:lnTo>
                <a:lnTo>
                  <a:pt x="498475" y="95250"/>
                </a:lnTo>
                <a:lnTo>
                  <a:pt x="490600" y="84074"/>
                </a:lnTo>
                <a:lnTo>
                  <a:pt x="481075" y="74549"/>
                </a:lnTo>
                <a:lnTo>
                  <a:pt x="473075" y="66675"/>
                </a:lnTo>
                <a:lnTo>
                  <a:pt x="462025" y="57150"/>
                </a:lnTo>
                <a:lnTo>
                  <a:pt x="452500" y="49149"/>
                </a:lnTo>
                <a:lnTo>
                  <a:pt x="450337" y="4762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190292" y="1168216"/>
            <a:ext cx="186055" cy="186055"/>
          </a:xfrm>
          <a:custGeom>
            <a:avLst/>
            <a:gdLst/>
            <a:ahLst/>
            <a:cxnLst/>
            <a:rect l="l" t="t" r="r" b="b"/>
            <a:pathLst>
              <a:path w="186054" h="186055">
                <a:moveTo>
                  <a:pt x="145923" y="0"/>
                </a:moveTo>
                <a:lnTo>
                  <a:pt x="0" y="158750"/>
                </a:lnTo>
                <a:lnTo>
                  <a:pt x="34925" y="185800"/>
                </a:lnTo>
                <a:lnTo>
                  <a:pt x="185674" y="34925"/>
                </a:lnTo>
                <a:lnTo>
                  <a:pt x="1459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261228" y="1255521"/>
            <a:ext cx="3070225" cy="2143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800" b="1" spc="-10" dirty="0">
                <a:latin typeface="Arial"/>
                <a:cs typeface="Arial"/>
              </a:rPr>
              <a:t>The </a:t>
            </a:r>
            <a:r>
              <a:rPr sz="2800" b="1" spc="-5" dirty="0">
                <a:latin typeface="Arial"/>
                <a:cs typeface="Arial"/>
              </a:rPr>
              <a:t>exchange of  </a:t>
            </a:r>
            <a:r>
              <a:rPr sz="2800" b="1" spc="-10" dirty="0">
                <a:latin typeface="Arial"/>
                <a:cs typeface="Arial"/>
              </a:rPr>
              <a:t>goods </a:t>
            </a:r>
            <a:r>
              <a:rPr sz="2800" b="1" spc="-5" dirty="0">
                <a:latin typeface="Arial"/>
                <a:cs typeface="Arial"/>
              </a:rPr>
              <a:t>or</a:t>
            </a:r>
            <a:r>
              <a:rPr sz="2800" b="1" spc="-40" dirty="0">
                <a:latin typeface="Arial"/>
                <a:cs typeface="Arial"/>
              </a:rPr>
              <a:t> </a:t>
            </a:r>
            <a:r>
              <a:rPr sz="2800" b="1" dirty="0">
                <a:latin typeface="Arial"/>
                <a:cs typeface="Arial"/>
              </a:rPr>
              <a:t>services  </a:t>
            </a:r>
            <a:r>
              <a:rPr sz="2800" b="1" spc="-5" dirty="0">
                <a:latin typeface="Arial"/>
                <a:cs typeface="Arial"/>
              </a:rPr>
              <a:t>for an amount of  </a:t>
            </a:r>
            <a:r>
              <a:rPr sz="2800" b="1" spc="-10" dirty="0">
                <a:latin typeface="Arial"/>
                <a:cs typeface="Arial"/>
              </a:rPr>
              <a:t>money </a:t>
            </a:r>
            <a:r>
              <a:rPr sz="2800" b="1" spc="-5" dirty="0">
                <a:latin typeface="Arial"/>
                <a:cs typeface="Arial"/>
              </a:rPr>
              <a:t>or </a:t>
            </a:r>
            <a:r>
              <a:rPr sz="2800" b="1" dirty="0">
                <a:latin typeface="Arial"/>
                <a:cs typeface="Arial"/>
              </a:rPr>
              <a:t>its  </a:t>
            </a:r>
            <a:r>
              <a:rPr sz="2800" b="1" spc="-5" dirty="0">
                <a:latin typeface="Arial"/>
                <a:cs typeface="Arial"/>
              </a:rPr>
              <a:t>equivalent</a:t>
            </a:r>
            <a:endParaRPr sz="2800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724400" y="3581400"/>
            <a:ext cx="3810000" cy="2438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93444" y="3694557"/>
            <a:ext cx="3110230" cy="2143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800" b="1" spc="-10" dirty="0">
                <a:latin typeface="Arial"/>
                <a:cs typeface="Arial"/>
              </a:rPr>
              <a:t>The </a:t>
            </a:r>
            <a:r>
              <a:rPr sz="2800" b="1" spc="-5" dirty="0">
                <a:latin typeface="Arial"/>
                <a:cs typeface="Arial"/>
              </a:rPr>
              <a:t>process of  making the  products or  </a:t>
            </a:r>
            <a:r>
              <a:rPr sz="2800" b="1" dirty="0">
                <a:latin typeface="Arial"/>
                <a:cs typeface="Arial"/>
              </a:rPr>
              <a:t>services</a:t>
            </a:r>
            <a:r>
              <a:rPr sz="2800" b="1" spc="-65" dirty="0">
                <a:latin typeface="Arial"/>
                <a:cs typeface="Arial"/>
              </a:rPr>
              <a:t> </a:t>
            </a:r>
            <a:r>
              <a:rPr sz="2800" b="1" spc="-5" dirty="0">
                <a:latin typeface="Arial"/>
                <a:cs typeface="Arial"/>
              </a:rPr>
              <a:t>delivered  to the</a:t>
            </a:r>
            <a:r>
              <a:rPr sz="2800" b="1" spc="-50" dirty="0">
                <a:latin typeface="Arial"/>
                <a:cs typeface="Arial"/>
              </a:rPr>
              <a:t> </a:t>
            </a:r>
            <a:r>
              <a:rPr sz="2800" b="1" spc="-5" dirty="0">
                <a:latin typeface="Arial"/>
                <a:cs typeface="Arial"/>
              </a:rPr>
              <a:t>customers</a:t>
            </a:r>
            <a:endParaRPr sz="2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724400" y="1371600"/>
            <a:ext cx="457200" cy="228600"/>
          </a:xfrm>
          <a:custGeom>
            <a:avLst/>
            <a:gdLst/>
            <a:ahLst/>
            <a:cxnLst/>
            <a:rect l="l" t="t" r="r" b="b"/>
            <a:pathLst>
              <a:path w="457200" h="228600">
                <a:moveTo>
                  <a:pt x="342900" y="0"/>
                </a:moveTo>
                <a:lnTo>
                  <a:pt x="342900" y="57150"/>
                </a:lnTo>
                <a:lnTo>
                  <a:pt x="0" y="57150"/>
                </a:lnTo>
                <a:lnTo>
                  <a:pt x="0" y="171450"/>
                </a:lnTo>
                <a:lnTo>
                  <a:pt x="342900" y="171450"/>
                </a:lnTo>
                <a:lnTo>
                  <a:pt x="342900" y="228600"/>
                </a:lnTo>
                <a:lnTo>
                  <a:pt x="457200" y="114300"/>
                </a:lnTo>
                <a:lnTo>
                  <a:pt x="342900" y="0"/>
                </a:lnTo>
                <a:close/>
              </a:path>
            </a:pathLst>
          </a:custGeom>
          <a:solidFill>
            <a:srgbClr val="BB00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724400" y="1371600"/>
            <a:ext cx="457200" cy="228600"/>
          </a:xfrm>
          <a:custGeom>
            <a:avLst/>
            <a:gdLst/>
            <a:ahLst/>
            <a:cxnLst/>
            <a:rect l="l" t="t" r="r" b="b"/>
            <a:pathLst>
              <a:path w="457200" h="228600">
                <a:moveTo>
                  <a:pt x="0" y="57150"/>
                </a:moveTo>
                <a:lnTo>
                  <a:pt x="342900" y="57150"/>
                </a:lnTo>
                <a:lnTo>
                  <a:pt x="342900" y="0"/>
                </a:lnTo>
                <a:lnTo>
                  <a:pt x="457200" y="114300"/>
                </a:lnTo>
                <a:lnTo>
                  <a:pt x="342900" y="228600"/>
                </a:lnTo>
                <a:lnTo>
                  <a:pt x="342900" y="171450"/>
                </a:lnTo>
                <a:lnTo>
                  <a:pt x="0" y="171450"/>
                </a:lnTo>
                <a:lnTo>
                  <a:pt x="0" y="571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962400" y="3810000"/>
            <a:ext cx="457200" cy="228600"/>
          </a:xfrm>
          <a:custGeom>
            <a:avLst/>
            <a:gdLst/>
            <a:ahLst/>
            <a:cxnLst/>
            <a:rect l="l" t="t" r="r" b="b"/>
            <a:pathLst>
              <a:path w="457200" h="228600">
                <a:moveTo>
                  <a:pt x="114300" y="0"/>
                </a:moveTo>
                <a:lnTo>
                  <a:pt x="0" y="114300"/>
                </a:lnTo>
                <a:lnTo>
                  <a:pt x="114300" y="228600"/>
                </a:lnTo>
                <a:lnTo>
                  <a:pt x="114300" y="171450"/>
                </a:lnTo>
                <a:lnTo>
                  <a:pt x="457200" y="171450"/>
                </a:lnTo>
                <a:lnTo>
                  <a:pt x="457200" y="57150"/>
                </a:lnTo>
                <a:lnTo>
                  <a:pt x="114300" y="57150"/>
                </a:lnTo>
                <a:lnTo>
                  <a:pt x="114300" y="0"/>
                </a:lnTo>
                <a:close/>
              </a:path>
            </a:pathLst>
          </a:custGeom>
          <a:solidFill>
            <a:srgbClr val="BB00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962400" y="3810000"/>
            <a:ext cx="457200" cy="228600"/>
          </a:xfrm>
          <a:custGeom>
            <a:avLst/>
            <a:gdLst/>
            <a:ahLst/>
            <a:cxnLst/>
            <a:rect l="l" t="t" r="r" b="b"/>
            <a:pathLst>
              <a:path w="457200" h="228600">
                <a:moveTo>
                  <a:pt x="457200" y="171450"/>
                </a:moveTo>
                <a:lnTo>
                  <a:pt x="114300" y="171450"/>
                </a:lnTo>
                <a:lnTo>
                  <a:pt x="114300" y="228600"/>
                </a:lnTo>
                <a:lnTo>
                  <a:pt x="0" y="114300"/>
                </a:lnTo>
                <a:lnTo>
                  <a:pt x="114300" y="0"/>
                </a:lnTo>
                <a:lnTo>
                  <a:pt x="114300" y="57150"/>
                </a:lnTo>
                <a:lnTo>
                  <a:pt x="457200" y="57150"/>
                </a:lnTo>
                <a:lnTo>
                  <a:pt x="457200" y="1714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622925" y="5622925"/>
            <a:ext cx="1997075" cy="469900"/>
          </a:xfrm>
          <a:custGeom>
            <a:avLst/>
            <a:gdLst/>
            <a:ahLst/>
            <a:cxnLst/>
            <a:rect l="l" t="t" r="r" b="b"/>
            <a:pathLst>
              <a:path w="1997075" h="469900">
                <a:moveTo>
                  <a:pt x="0" y="469900"/>
                </a:moveTo>
                <a:lnTo>
                  <a:pt x="1997075" y="469900"/>
                </a:lnTo>
                <a:lnTo>
                  <a:pt x="1997075" y="0"/>
                </a:lnTo>
                <a:lnTo>
                  <a:pt x="0" y="0"/>
                </a:lnTo>
                <a:lnTo>
                  <a:pt x="0" y="46990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5638800" y="5715000"/>
            <a:ext cx="1905000" cy="3048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9850">
              <a:lnSpc>
                <a:spcPts val="2300"/>
              </a:lnSpc>
            </a:pPr>
            <a:r>
              <a:rPr sz="2400" b="1" dirty="0">
                <a:solidFill>
                  <a:srgbClr val="FF33CC"/>
                </a:solidFill>
                <a:latin typeface="Arial"/>
                <a:cs typeface="Arial"/>
              </a:rPr>
              <a:t>Distribution</a:t>
            </a:r>
            <a:endParaRPr sz="24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28600" y="1368425"/>
            <a:ext cx="4419600" cy="1852930"/>
          </a:xfrm>
          <a:custGeom>
            <a:avLst/>
            <a:gdLst/>
            <a:ahLst/>
            <a:cxnLst/>
            <a:rect l="l" t="t" r="r" b="b"/>
            <a:pathLst>
              <a:path w="4419600" h="1852930">
                <a:moveTo>
                  <a:pt x="2209800" y="0"/>
                </a:moveTo>
                <a:lnTo>
                  <a:pt x="1763902" y="16128"/>
                </a:lnTo>
                <a:lnTo>
                  <a:pt x="1550797" y="38735"/>
                </a:lnTo>
                <a:lnTo>
                  <a:pt x="1346835" y="69341"/>
                </a:lnTo>
                <a:lnTo>
                  <a:pt x="1157224" y="108076"/>
                </a:lnTo>
                <a:lnTo>
                  <a:pt x="976718" y="161289"/>
                </a:lnTo>
                <a:lnTo>
                  <a:pt x="801598" y="208025"/>
                </a:lnTo>
                <a:lnTo>
                  <a:pt x="649935" y="269239"/>
                </a:lnTo>
                <a:lnTo>
                  <a:pt x="507314" y="338582"/>
                </a:lnTo>
                <a:lnTo>
                  <a:pt x="379133" y="407924"/>
                </a:lnTo>
                <a:lnTo>
                  <a:pt x="265391" y="483742"/>
                </a:lnTo>
                <a:lnTo>
                  <a:pt x="173316" y="569213"/>
                </a:lnTo>
                <a:lnTo>
                  <a:pt x="97485" y="653034"/>
                </a:lnTo>
                <a:lnTo>
                  <a:pt x="68605" y="691769"/>
                </a:lnTo>
                <a:lnTo>
                  <a:pt x="45135" y="738504"/>
                </a:lnTo>
                <a:lnTo>
                  <a:pt x="23469" y="783589"/>
                </a:lnTo>
                <a:lnTo>
                  <a:pt x="14439" y="830326"/>
                </a:lnTo>
                <a:lnTo>
                  <a:pt x="0" y="877188"/>
                </a:lnTo>
                <a:lnTo>
                  <a:pt x="0" y="977138"/>
                </a:lnTo>
                <a:lnTo>
                  <a:pt x="14439" y="1022223"/>
                </a:lnTo>
                <a:lnTo>
                  <a:pt x="23469" y="1068959"/>
                </a:lnTo>
                <a:lnTo>
                  <a:pt x="45135" y="1114171"/>
                </a:lnTo>
                <a:lnTo>
                  <a:pt x="68605" y="1160907"/>
                </a:lnTo>
                <a:lnTo>
                  <a:pt x="97485" y="1199641"/>
                </a:lnTo>
                <a:lnTo>
                  <a:pt x="173316" y="1291463"/>
                </a:lnTo>
                <a:lnTo>
                  <a:pt x="265391" y="1368933"/>
                </a:lnTo>
                <a:lnTo>
                  <a:pt x="379133" y="1444625"/>
                </a:lnTo>
                <a:lnTo>
                  <a:pt x="507314" y="1513966"/>
                </a:lnTo>
                <a:lnTo>
                  <a:pt x="649935" y="1583309"/>
                </a:lnTo>
                <a:lnTo>
                  <a:pt x="801598" y="1644650"/>
                </a:lnTo>
                <a:lnTo>
                  <a:pt x="976718" y="1699387"/>
                </a:lnTo>
                <a:lnTo>
                  <a:pt x="1157224" y="1744599"/>
                </a:lnTo>
                <a:lnTo>
                  <a:pt x="1346835" y="1783334"/>
                </a:lnTo>
                <a:lnTo>
                  <a:pt x="1550797" y="1813940"/>
                </a:lnTo>
                <a:lnTo>
                  <a:pt x="1763902" y="1838071"/>
                </a:lnTo>
                <a:lnTo>
                  <a:pt x="1982343" y="1852549"/>
                </a:lnTo>
                <a:lnTo>
                  <a:pt x="2437257" y="1852549"/>
                </a:lnTo>
                <a:lnTo>
                  <a:pt x="2655697" y="1838071"/>
                </a:lnTo>
                <a:lnTo>
                  <a:pt x="2868803" y="1813940"/>
                </a:lnTo>
                <a:lnTo>
                  <a:pt x="3072765" y="1783334"/>
                </a:lnTo>
                <a:lnTo>
                  <a:pt x="3262376" y="1744599"/>
                </a:lnTo>
                <a:lnTo>
                  <a:pt x="3442842" y="1699387"/>
                </a:lnTo>
                <a:lnTo>
                  <a:pt x="3617976" y="1644650"/>
                </a:lnTo>
                <a:lnTo>
                  <a:pt x="3776853" y="1583309"/>
                </a:lnTo>
                <a:lnTo>
                  <a:pt x="3912235" y="1513966"/>
                </a:lnTo>
                <a:lnTo>
                  <a:pt x="4040504" y="1444625"/>
                </a:lnTo>
                <a:lnTo>
                  <a:pt x="4154170" y="1368933"/>
                </a:lnTo>
                <a:lnTo>
                  <a:pt x="4246245" y="1291463"/>
                </a:lnTo>
                <a:lnTo>
                  <a:pt x="4322064" y="1199641"/>
                </a:lnTo>
                <a:lnTo>
                  <a:pt x="4351020" y="1160907"/>
                </a:lnTo>
                <a:lnTo>
                  <a:pt x="4374515" y="1114171"/>
                </a:lnTo>
                <a:lnTo>
                  <a:pt x="4396105" y="1068959"/>
                </a:lnTo>
                <a:lnTo>
                  <a:pt x="4412361" y="1022223"/>
                </a:lnTo>
                <a:lnTo>
                  <a:pt x="4419600" y="977138"/>
                </a:lnTo>
                <a:lnTo>
                  <a:pt x="4419600" y="877188"/>
                </a:lnTo>
                <a:lnTo>
                  <a:pt x="4412361" y="830326"/>
                </a:lnTo>
                <a:lnTo>
                  <a:pt x="4396105" y="783589"/>
                </a:lnTo>
                <a:lnTo>
                  <a:pt x="4374515" y="738504"/>
                </a:lnTo>
                <a:lnTo>
                  <a:pt x="4351020" y="691769"/>
                </a:lnTo>
                <a:lnTo>
                  <a:pt x="4322064" y="653034"/>
                </a:lnTo>
                <a:lnTo>
                  <a:pt x="4246245" y="569213"/>
                </a:lnTo>
                <a:lnTo>
                  <a:pt x="4154170" y="483742"/>
                </a:lnTo>
                <a:lnTo>
                  <a:pt x="4040504" y="407924"/>
                </a:lnTo>
                <a:lnTo>
                  <a:pt x="3912235" y="338582"/>
                </a:lnTo>
                <a:lnTo>
                  <a:pt x="3776853" y="269239"/>
                </a:lnTo>
                <a:lnTo>
                  <a:pt x="3617976" y="208025"/>
                </a:lnTo>
                <a:lnTo>
                  <a:pt x="3442842" y="161289"/>
                </a:lnTo>
                <a:lnTo>
                  <a:pt x="3262376" y="108076"/>
                </a:lnTo>
                <a:lnTo>
                  <a:pt x="3072765" y="69341"/>
                </a:lnTo>
                <a:lnTo>
                  <a:pt x="2868803" y="38735"/>
                </a:lnTo>
                <a:lnTo>
                  <a:pt x="2655697" y="16128"/>
                </a:lnTo>
                <a:lnTo>
                  <a:pt x="2209800" y="0"/>
                </a:lnTo>
                <a:close/>
              </a:path>
            </a:pathLst>
          </a:custGeom>
          <a:solidFill>
            <a:srgbClr val="005B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52425" y="1392300"/>
            <a:ext cx="3838575" cy="1884680"/>
          </a:xfrm>
          <a:custGeom>
            <a:avLst/>
            <a:gdLst/>
            <a:ahLst/>
            <a:cxnLst/>
            <a:rect l="l" t="t" r="r" b="b"/>
            <a:pathLst>
              <a:path w="3838575" h="1884679">
                <a:moveTo>
                  <a:pt x="2017268" y="1450594"/>
                </a:moveTo>
                <a:lnTo>
                  <a:pt x="1823085" y="1450594"/>
                </a:lnTo>
                <a:lnTo>
                  <a:pt x="1919224" y="1884299"/>
                </a:lnTo>
                <a:lnTo>
                  <a:pt x="2017268" y="1450594"/>
                </a:lnTo>
                <a:close/>
              </a:path>
              <a:path w="3838575" h="1884679">
                <a:moveTo>
                  <a:pt x="2218690" y="1435481"/>
                </a:moveTo>
                <a:lnTo>
                  <a:pt x="1619885" y="1435481"/>
                </a:lnTo>
                <a:lnTo>
                  <a:pt x="1553972" y="1867535"/>
                </a:lnTo>
                <a:lnTo>
                  <a:pt x="1823085" y="1450594"/>
                </a:lnTo>
                <a:lnTo>
                  <a:pt x="2220995" y="1450594"/>
                </a:lnTo>
                <a:lnTo>
                  <a:pt x="2218690" y="1435481"/>
                </a:lnTo>
                <a:close/>
              </a:path>
              <a:path w="3838575" h="1884679">
                <a:moveTo>
                  <a:pt x="2220995" y="1450594"/>
                </a:moveTo>
                <a:lnTo>
                  <a:pt x="2017268" y="1450594"/>
                </a:lnTo>
                <a:lnTo>
                  <a:pt x="2284603" y="1867535"/>
                </a:lnTo>
                <a:lnTo>
                  <a:pt x="2220995" y="1450594"/>
                </a:lnTo>
                <a:close/>
              </a:path>
              <a:path w="3838575" h="1884679">
                <a:moveTo>
                  <a:pt x="2396871" y="1395095"/>
                </a:moveTo>
                <a:lnTo>
                  <a:pt x="1441704" y="1395095"/>
                </a:lnTo>
                <a:lnTo>
                  <a:pt x="1202944" y="1820418"/>
                </a:lnTo>
                <a:lnTo>
                  <a:pt x="1619885" y="1435481"/>
                </a:lnTo>
                <a:lnTo>
                  <a:pt x="2419542" y="1435481"/>
                </a:lnTo>
                <a:lnTo>
                  <a:pt x="2396871" y="1395095"/>
                </a:lnTo>
                <a:close/>
              </a:path>
              <a:path w="3838575" h="1884679">
                <a:moveTo>
                  <a:pt x="2419542" y="1435481"/>
                </a:moveTo>
                <a:lnTo>
                  <a:pt x="2218690" y="1435481"/>
                </a:lnTo>
                <a:lnTo>
                  <a:pt x="2635631" y="1820418"/>
                </a:lnTo>
                <a:lnTo>
                  <a:pt x="2419542" y="1435481"/>
                </a:lnTo>
                <a:close/>
              </a:path>
              <a:path w="3838575" h="1884679">
                <a:moveTo>
                  <a:pt x="2569718" y="1348104"/>
                </a:moveTo>
                <a:lnTo>
                  <a:pt x="1268857" y="1348104"/>
                </a:lnTo>
                <a:lnTo>
                  <a:pt x="880338" y="1739773"/>
                </a:lnTo>
                <a:lnTo>
                  <a:pt x="1441704" y="1395095"/>
                </a:lnTo>
                <a:lnTo>
                  <a:pt x="2616327" y="1395095"/>
                </a:lnTo>
                <a:lnTo>
                  <a:pt x="2569718" y="1348104"/>
                </a:lnTo>
                <a:close/>
              </a:path>
              <a:path w="3838575" h="1884679">
                <a:moveTo>
                  <a:pt x="2616327" y="1395095"/>
                </a:moveTo>
                <a:lnTo>
                  <a:pt x="2396871" y="1395095"/>
                </a:lnTo>
                <a:lnTo>
                  <a:pt x="2958211" y="1739773"/>
                </a:lnTo>
                <a:lnTo>
                  <a:pt x="2616327" y="1395095"/>
                </a:lnTo>
                <a:close/>
              </a:path>
              <a:path w="3838575" h="1884679">
                <a:moveTo>
                  <a:pt x="2710561" y="1275841"/>
                </a:moveTo>
                <a:lnTo>
                  <a:pt x="1128014" y="1275841"/>
                </a:lnTo>
                <a:lnTo>
                  <a:pt x="589864" y="1627124"/>
                </a:lnTo>
                <a:lnTo>
                  <a:pt x="1268857" y="1348104"/>
                </a:lnTo>
                <a:lnTo>
                  <a:pt x="2821254" y="1348104"/>
                </a:lnTo>
                <a:lnTo>
                  <a:pt x="2710561" y="1275841"/>
                </a:lnTo>
                <a:close/>
              </a:path>
              <a:path w="3838575" h="1884679">
                <a:moveTo>
                  <a:pt x="2821254" y="1348104"/>
                </a:moveTo>
                <a:lnTo>
                  <a:pt x="2569718" y="1348104"/>
                </a:lnTo>
                <a:lnTo>
                  <a:pt x="3248660" y="1627124"/>
                </a:lnTo>
                <a:lnTo>
                  <a:pt x="2821254" y="1348104"/>
                </a:lnTo>
                <a:close/>
              </a:path>
              <a:path w="3838575" h="1884679">
                <a:moveTo>
                  <a:pt x="2829941" y="1203452"/>
                </a:moveTo>
                <a:lnTo>
                  <a:pt x="1008634" y="1203452"/>
                </a:lnTo>
                <a:lnTo>
                  <a:pt x="351066" y="1490979"/>
                </a:lnTo>
                <a:lnTo>
                  <a:pt x="1128014" y="1275841"/>
                </a:lnTo>
                <a:lnTo>
                  <a:pt x="2995504" y="1275841"/>
                </a:lnTo>
                <a:lnTo>
                  <a:pt x="2829941" y="1203452"/>
                </a:lnTo>
                <a:close/>
              </a:path>
              <a:path w="3838575" h="1884679">
                <a:moveTo>
                  <a:pt x="2995504" y="1275841"/>
                </a:moveTo>
                <a:lnTo>
                  <a:pt x="2710561" y="1275841"/>
                </a:lnTo>
                <a:lnTo>
                  <a:pt x="3487547" y="1490979"/>
                </a:lnTo>
                <a:lnTo>
                  <a:pt x="2995504" y="1275841"/>
                </a:lnTo>
                <a:close/>
              </a:path>
              <a:path w="3838575" h="1884679">
                <a:moveTo>
                  <a:pt x="2913634" y="1106043"/>
                </a:moveTo>
                <a:lnTo>
                  <a:pt x="926719" y="1106043"/>
                </a:lnTo>
                <a:lnTo>
                  <a:pt x="171081" y="1331214"/>
                </a:lnTo>
                <a:lnTo>
                  <a:pt x="1008634" y="1203452"/>
                </a:lnTo>
                <a:lnTo>
                  <a:pt x="3239759" y="1203452"/>
                </a:lnTo>
                <a:lnTo>
                  <a:pt x="2913634" y="1106043"/>
                </a:lnTo>
                <a:close/>
              </a:path>
              <a:path w="3838575" h="1884679">
                <a:moveTo>
                  <a:pt x="3239759" y="1203452"/>
                </a:moveTo>
                <a:lnTo>
                  <a:pt x="2829941" y="1203452"/>
                </a:lnTo>
                <a:lnTo>
                  <a:pt x="3667505" y="1331214"/>
                </a:lnTo>
                <a:lnTo>
                  <a:pt x="3239759" y="1203452"/>
                </a:lnTo>
                <a:close/>
              </a:path>
              <a:path w="3838575" h="1884679">
                <a:moveTo>
                  <a:pt x="14262" y="810133"/>
                </a:moveTo>
                <a:lnTo>
                  <a:pt x="873213" y="914400"/>
                </a:lnTo>
                <a:lnTo>
                  <a:pt x="0" y="986663"/>
                </a:lnTo>
                <a:lnTo>
                  <a:pt x="880338" y="1018539"/>
                </a:lnTo>
                <a:lnTo>
                  <a:pt x="51676" y="1163193"/>
                </a:lnTo>
                <a:lnTo>
                  <a:pt x="926719" y="1106043"/>
                </a:lnTo>
                <a:lnTo>
                  <a:pt x="3459490" y="1106043"/>
                </a:lnTo>
                <a:lnTo>
                  <a:pt x="2958211" y="1018539"/>
                </a:lnTo>
                <a:lnTo>
                  <a:pt x="3838575" y="986663"/>
                </a:lnTo>
                <a:lnTo>
                  <a:pt x="2965323" y="914400"/>
                </a:lnTo>
                <a:lnTo>
                  <a:pt x="3755293" y="818514"/>
                </a:lnTo>
                <a:lnTo>
                  <a:pt x="903503" y="818514"/>
                </a:lnTo>
                <a:lnTo>
                  <a:pt x="14262" y="810133"/>
                </a:lnTo>
                <a:close/>
              </a:path>
              <a:path w="3838575" h="1884679">
                <a:moveTo>
                  <a:pt x="3459490" y="1106043"/>
                </a:moveTo>
                <a:lnTo>
                  <a:pt x="2913634" y="1106043"/>
                </a:lnTo>
                <a:lnTo>
                  <a:pt x="3786886" y="1163193"/>
                </a:lnTo>
                <a:lnTo>
                  <a:pt x="3459490" y="1106043"/>
                </a:lnTo>
                <a:close/>
              </a:path>
              <a:path w="3838575" h="1884679">
                <a:moveTo>
                  <a:pt x="103365" y="633602"/>
                </a:moveTo>
                <a:lnTo>
                  <a:pt x="903503" y="818514"/>
                </a:lnTo>
                <a:lnTo>
                  <a:pt x="2935097" y="818514"/>
                </a:lnTo>
                <a:lnTo>
                  <a:pt x="3320309" y="729488"/>
                </a:lnTo>
                <a:lnTo>
                  <a:pt x="962279" y="729488"/>
                </a:lnTo>
                <a:lnTo>
                  <a:pt x="103365" y="633602"/>
                </a:lnTo>
                <a:close/>
              </a:path>
              <a:path w="3838575" h="1884679">
                <a:moveTo>
                  <a:pt x="3824351" y="810133"/>
                </a:moveTo>
                <a:lnTo>
                  <a:pt x="2935097" y="818514"/>
                </a:lnTo>
                <a:lnTo>
                  <a:pt x="3755293" y="818514"/>
                </a:lnTo>
                <a:lnTo>
                  <a:pt x="3824351" y="810133"/>
                </a:lnTo>
                <a:close/>
              </a:path>
              <a:path w="3838575" h="1884679">
                <a:moveTo>
                  <a:pt x="253047" y="473963"/>
                </a:moveTo>
                <a:lnTo>
                  <a:pt x="962279" y="729488"/>
                </a:lnTo>
                <a:lnTo>
                  <a:pt x="2876296" y="729488"/>
                </a:lnTo>
                <a:lnTo>
                  <a:pt x="3118794" y="642112"/>
                </a:lnTo>
                <a:lnTo>
                  <a:pt x="1067435" y="642112"/>
                </a:lnTo>
                <a:lnTo>
                  <a:pt x="253047" y="473963"/>
                </a:lnTo>
                <a:close/>
              </a:path>
              <a:path w="3838575" h="1884679">
                <a:moveTo>
                  <a:pt x="3735197" y="633602"/>
                </a:moveTo>
                <a:lnTo>
                  <a:pt x="2876296" y="729488"/>
                </a:lnTo>
                <a:lnTo>
                  <a:pt x="3320309" y="729488"/>
                </a:lnTo>
                <a:lnTo>
                  <a:pt x="3735197" y="633602"/>
                </a:lnTo>
                <a:close/>
              </a:path>
              <a:path w="3838575" h="1884679">
                <a:moveTo>
                  <a:pt x="463334" y="321056"/>
                </a:moveTo>
                <a:lnTo>
                  <a:pt x="1067435" y="642112"/>
                </a:lnTo>
                <a:lnTo>
                  <a:pt x="2771140" y="642112"/>
                </a:lnTo>
                <a:lnTo>
                  <a:pt x="2907358" y="569722"/>
                </a:lnTo>
                <a:lnTo>
                  <a:pt x="1193927" y="569722"/>
                </a:lnTo>
                <a:lnTo>
                  <a:pt x="463334" y="321056"/>
                </a:lnTo>
                <a:close/>
              </a:path>
              <a:path w="3838575" h="1884679">
                <a:moveTo>
                  <a:pt x="3585464" y="473963"/>
                </a:moveTo>
                <a:lnTo>
                  <a:pt x="2771140" y="642112"/>
                </a:lnTo>
                <a:lnTo>
                  <a:pt x="3118794" y="642112"/>
                </a:lnTo>
                <a:lnTo>
                  <a:pt x="3585464" y="473963"/>
                </a:lnTo>
                <a:close/>
              </a:path>
              <a:path w="3838575" h="1884679">
                <a:moveTo>
                  <a:pt x="732434" y="201675"/>
                </a:moveTo>
                <a:lnTo>
                  <a:pt x="1193927" y="569722"/>
                </a:lnTo>
                <a:lnTo>
                  <a:pt x="2644648" y="569722"/>
                </a:lnTo>
                <a:lnTo>
                  <a:pt x="2724901" y="505968"/>
                </a:lnTo>
                <a:lnTo>
                  <a:pt x="1350772" y="505968"/>
                </a:lnTo>
                <a:lnTo>
                  <a:pt x="732434" y="201675"/>
                </a:lnTo>
                <a:close/>
              </a:path>
              <a:path w="3838575" h="1884679">
                <a:moveTo>
                  <a:pt x="3375279" y="321056"/>
                </a:moveTo>
                <a:lnTo>
                  <a:pt x="2644648" y="569722"/>
                </a:lnTo>
                <a:lnTo>
                  <a:pt x="2907358" y="569722"/>
                </a:lnTo>
                <a:lnTo>
                  <a:pt x="3375279" y="321056"/>
                </a:lnTo>
                <a:close/>
              </a:path>
              <a:path w="3838575" h="1884679">
                <a:moveTo>
                  <a:pt x="1037209" y="104139"/>
                </a:moveTo>
                <a:lnTo>
                  <a:pt x="1350772" y="505968"/>
                </a:lnTo>
                <a:lnTo>
                  <a:pt x="2487803" y="505968"/>
                </a:lnTo>
                <a:lnTo>
                  <a:pt x="2519317" y="465582"/>
                </a:lnTo>
                <a:lnTo>
                  <a:pt x="1530858" y="465582"/>
                </a:lnTo>
                <a:lnTo>
                  <a:pt x="1037209" y="104139"/>
                </a:lnTo>
                <a:close/>
              </a:path>
              <a:path w="3838575" h="1884679">
                <a:moveTo>
                  <a:pt x="3107944" y="201675"/>
                </a:moveTo>
                <a:lnTo>
                  <a:pt x="2487803" y="505968"/>
                </a:lnTo>
                <a:lnTo>
                  <a:pt x="2724901" y="505968"/>
                </a:lnTo>
                <a:lnTo>
                  <a:pt x="3107944" y="201675"/>
                </a:lnTo>
                <a:close/>
              </a:path>
              <a:path w="3838575" h="1884679">
                <a:moveTo>
                  <a:pt x="1374013" y="31876"/>
                </a:moveTo>
                <a:lnTo>
                  <a:pt x="1530858" y="465582"/>
                </a:lnTo>
                <a:lnTo>
                  <a:pt x="2307717" y="465582"/>
                </a:lnTo>
                <a:lnTo>
                  <a:pt x="2319290" y="433577"/>
                </a:lnTo>
                <a:lnTo>
                  <a:pt x="1717929" y="433577"/>
                </a:lnTo>
                <a:lnTo>
                  <a:pt x="1374013" y="31876"/>
                </a:lnTo>
                <a:close/>
              </a:path>
              <a:path w="3838575" h="1884679">
                <a:moveTo>
                  <a:pt x="2801366" y="104139"/>
                </a:moveTo>
                <a:lnTo>
                  <a:pt x="2307717" y="465582"/>
                </a:lnTo>
                <a:lnTo>
                  <a:pt x="2519317" y="465582"/>
                </a:lnTo>
                <a:lnTo>
                  <a:pt x="2801366" y="104139"/>
                </a:lnTo>
                <a:close/>
              </a:path>
              <a:path w="3838575" h="1884679">
                <a:moveTo>
                  <a:pt x="1739264" y="0"/>
                </a:moveTo>
                <a:lnTo>
                  <a:pt x="1717929" y="433577"/>
                </a:lnTo>
                <a:lnTo>
                  <a:pt x="2120646" y="433577"/>
                </a:lnTo>
                <a:lnTo>
                  <a:pt x="2120371" y="425196"/>
                </a:lnTo>
                <a:lnTo>
                  <a:pt x="1919224" y="425196"/>
                </a:lnTo>
                <a:lnTo>
                  <a:pt x="1739264" y="0"/>
                </a:lnTo>
                <a:close/>
              </a:path>
              <a:path w="3838575" h="1884679">
                <a:moveTo>
                  <a:pt x="2464562" y="31876"/>
                </a:moveTo>
                <a:lnTo>
                  <a:pt x="2120646" y="433577"/>
                </a:lnTo>
                <a:lnTo>
                  <a:pt x="2319290" y="433577"/>
                </a:lnTo>
                <a:lnTo>
                  <a:pt x="2464562" y="31876"/>
                </a:lnTo>
                <a:close/>
              </a:path>
              <a:path w="3838575" h="1884679">
                <a:moveTo>
                  <a:pt x="2106422" y="0"/>
                </a:moveTo>
                <a:lnTo>
                  <a:pt x="1919224" y="425196"/>
                </a:lnTo>
                <a:lnTo>
                  <a:pt x="2120371" y="425196"/>
                </a:lnTo>
                <a:lnTo>
                  <a:pt x="2106422" y="0"/>
                </a:lnTo>
                <a:close/>
              </a:path>
            </a:pathLst>
          </a:custGeom>
          <a:solidFill>
            <a:srgbClr val="37699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77887" y="2701925"/>
            <a:ext cx="0" cy="370205"/>
          </a:xfrm>
          <a:custGeom>
            <a:avLst/>
            <a:gdLst/>
            <a:ahLst/>
            <a:cxnLst/>
            <a:rect l="l" t="t" r="r" b="b"/>
            <a:pathLst>
              <a:path h="370205">
                <a:moveTo>
                  <a:pt x="0" y="0"/>
                </a:moveTo>
                <a:lnTo>
                  <a:pt x="0" y="369824"/>
                </a:lnTo>
              </a:path>
            </a:pathLst>
          </a:custGeom>
          <a:ln w="25400">
            <a:solidFill>
              <a:srgbClr val="C1C1C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630426" y="2617851"/>
            <a:ext cx="33655" cy="628650"/>
          </a:xfrm>
          <a:custGeom>
            <a:avLst/>
            <a:gdLst/>
            <a:ahLst/>
            <a:cxnLst/>
            <a:rect l="l" t="t" r="r" b="b"/>
            <a:pathLst>
              <a:path w="33655" h="628650">
                <a:moveTo>
                  <a:pt x="6350" y="620649"/>
                </a:moveTo>
                <a:lnTo>
                  <a:pt x="6350" y="628523"/>
                </a:lnTo>
                <a:lnTo>
                  <a:pt x="12700" y="628523"/>
                </a:lnTo>
                <a:lnTo>
                  <a:pt x="6350" y="620649"/>
                </a:lnTo>
                <a:close/>
              </a:path>
              <a:path w="33655" h="628650">
                <a:moveTo>
                  <a:pt x="33274" y="0"/>
                </a:moveTo>
                <a:lnTo>
                  <a:pt x="25400" y="0"/>
                </a:lnTo>
                <a:lnTo>
                  <a:pt x="6350" y="152273"/>
                </a:lnTo>
                <a:lnTo>
                  <a:pt x="0" y="311023"/>
                </a:lnTo>
                <a:lnTo>
                  <a:pt x="0" y="461899"/>
                </a:lnTo>
                <a:lnTo>
                  <a:pt x="6350" y="620649"/>
                </a:lnTo>
                <a:lnTo>
                  <a:pt x="12700" y="311023"/>
                </a:lnTo>
                <a:lnTo>
                  <a:pt x="19050" y="152273"/>
                </a:lnTo>
                <a:lnTo>
                  <a:pt x="33274" y="0"/>
                </a:lnTo>
                <a:close/>
              </a:path>
            </a:pathLst>
          </a:custGeom>
          <a:solidFill>
            <a:srgbClr val="C1C1C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273425" y="2792348"/>
            <a:ext cx="0" cy="295275"/>
          </a:xfrm>
          <a:custGeom>
            <a:avLst/>
            <a:gdLst/>
            <a:ahLst/>
            <a:cxnLst/>
            <a:rect l="l" t="t" r="r" b="b"/>
            <a:pathLst>
              <a:path h="295275">
                <a:moveTo>
                  <a:pt x="0" y="0"/>
                </a:moveTo>
                <a:lnTo>
                  <a:pt x="0" y="295275"/>
                </a:lnTo>
              </a:path>
            </a:pathLst>
          </a:custGeom>
          <a:ln w="25400">
            <a:solidFill>
              <a:srgbClr val="C1C1C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461450" y="2701925"/>
            <a:ext cx="0" cy="552450"/>
          </a:xfrm>
          <a:custGeom>
            <a:avLst/>
            <a:gdLst/>
            <a:ahLst/>
            <a:cxnLst/>
            <a:rect l="l" t="t" r="r" b="b"/>
            <a:pathLst>
              <a:path h="552450">
                <a:moveTo>
                  <a:pt x="0" y="0"/>
                </a:moveTo>
                <a:lnTo>
                  <a:pt x="0" y="552450"/>
                </a:lnTo>
              </a:path>
            </a:pathLst>
          </a:custGeom>
          <a:ln w="27050">
            <a:solidFill>
              <a:srgbClr val="C1C1C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58787" y="1497075"/>
            <a:ext cx="798830" cy="1257300"/>
          </a:xfrm>
          <a:custGeom>
            <a:avLst/>
            <a:gdLst/>
            <a:ahLst/>
            <a:cxnLst/>
            <a:rect l="l" t="t" r="r" b="b"/>
            <a:pathLst>
              <a:path w="798830" h="1257300">
                <a:moveTo>
                  <a:pt x="438150" y="0"/>
                </a:moveTo>
                <a:lnTo>
                  <a:pt x="398462" y="0"/>
                </a:lnTo>
                <a:lnTo>
                  <a:pt x="331787" y="7874"/>
                </a:lnTo>
                <a:lnTo>
                  <a:pt x="258762" y="30099"/>
                </a:lnTo>
                <a:lnTo>
                  <a:pt x="192087" y="68199"/>
                </a:lnTo>
                <a:lnTo>
                  <a:pt x="133350" y="122174"/>
                </a:lnTo>
                <a:lnTo>
                  <a:pt x="106362" y="160274"/>
                </a:lnTo>
                <a:lnTo>
                  <a:pt x="79375" y="196850"/>
                </a:lnTo>
                <a:lnTo>
                  <a:pt x="52387" y="234950"/>
                </a:lnTo>
                <a:lnTo>
                  <a:pt x="33337" y="280924"/>
                </a:lnTo>
                <a:lnTo>
                  <a:pt x="19050" y="325374"/>
                </a:lnTo>
                <a:lnTo>
                  <a:pt x="6350" y="379349"/>
                </a:lnTo>
                <a:lnTo>
                  <a:pt x="0" y="431800"/>
                </a:lnTo>
                <a:lnTo>
                  <a:pt x="0" y="584200"/>
                </a:lnTo>
                <a:lnTo>
                  <a:pt x="12700" y="674624"/>
                </a:lnTo>
                <a:lnTo>
                  <a:pt x="39687" y="757174"/>
                </a:lnTo>
                <a:lnTo>
                  <a:pt x="66675" y="847725"/>
                </a:lnTo>
                <a:lnTo>
                  <a:pt x="106362" y="923925"/>
                </a:lnTo>
                <a:lnTo>
                  <a:pt x="185737" y="1044575"/>
                </a:lnTo>
                <a:lnTo>
                  <a:pt x="225425" y="1082675"/>
                </a:lnTo>
                <a:lnTo>
                  <a:pt x="258762" y="1112774"/>
                </a:lnTo>
                <a:lnTo>
                  <a:pt x="298450" y="1143000"/>
                </a:lnTo>
                <a:lnTo>
                  <a:pt x="339725" y="1158875"/>
                </a:lnTo>
                <a:lnTo>
                  <a:pt x="358775" y="1166749"/>
                </a:lnTo>
                <a:lnTo>
                  <a:pt x="373062" y="1181100"/>
                </a:lnTo>
                <a:lnTo>
                  <a:pt x="373062" y="1188974"/>
                </a:lnTo>
                <a:lnTo>
                  <a:pt x="379412" y="1196975"/>
                </a:lnTo>
                <a:lnTo>
                  <a:pt x="352425" y="1219073"/>
                </a:lnTo>
                <a:lnTo>
                  <a:pt x="398462" y="1257173"/>
                </a:lnTo>
                <a:lnTo>
                  <a:pt x="419100" y="1227074"/>
                </a:lnTo>
                <a:lnTo>
                  <a:pt x="412750" y="1204849"/>
                </a:lnTo>
                <a:lnTo>
                  <a:pt x="406400" y="1196975"/>
                </a:lnTo>
                <a:lnTo>
                  <a:pt x="406400" y="1188974"/>
                </a:lnTo>
                <a:lnTo>
                  <a:pt x="412750" y="1166749"/>
                </a:lnTo>
                <a:lnTo>
                  <a:pt x="458787" y="1143000"/>
                </a:lnTo>
                <a:lnTo>
                  <a:pt x="504825" y="1120775"/>
                </a:lnTo>
                <a:lnTo>
                  <a:pt x="546100" y="1082675"/>
                </a:lnTo>
                <a:lnTo>
                  <a:pt x="592137" y="1038225"/>
                </a:lnTo>
                <a:lnTo>
                  <a:pt x="631825" y="984250"/>
                </a:lnTo>
                <a:lnTo>
                  <a:pt x="698500" y="879475"/>
                </a:lnTo>
                <a:lnTo>
                  <a:pt x="725487" y="817499"/>
                </a:lnTo>
                <a:lnTo>
                  <a:pt x="750887" y="757174"/>
                </a:lnTo>
                <a:lnTo>
                  <a:pt x="771525" y="688975"/>
                </a:lnTo>
                <a:lnTo>
                  <a:pt x="784225" y="620649"/>
                </a:lnTo>
                <a:lnTo>
                  <a:pt x="792162" y="560324"/>
                </a:lnTo>
                <a:lnTo>
                  <a:pt x="798512" y="492125"/>
                </a:lnTo>
                <a:lnTo>
                  <a:pt x="792162" y="401574"/>
                </a:lnTo>
                <a:lnTo>
                  <a:pt x="777875" y="319024"/>
                </a:lnTo>
                <a:lnTo>
                  <a:pt x="744537" y="242824"/>
                </a:lnTo>
                <a:lnTo>
                  <a:pt x="704850" y="174625"/>
                </a:lnTo>
                <a:lnTo>
                  <a:pt x="677862" y="136525"/>
                </a:lnTo>
                <a:lnTo>
                  <a:pt x="638175" y="98425"/>
                </a:lnTo>
                <a:lnTo>
                  <a:pt x="598487" y="68199"/>
                </a:lnTo>
                <a:lnTo>
                  <a:pt x="519112" y="23749"/>
                </a:lnTo>
                <a:lnTo>
                  <a:pt x="479425" y="7874"/>
                </a:lnTo>
                <a:lnTo>
                  <a:pt x="438150" y="0"/>
                </a:lnTo>
                <a:close/>
              </a:path>
            </a:pathLst>
          </a:custGeom>
          <a:solidFill>
            <a:srgbClr val="EA2B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57200" y="1497075"/>
            <a:ext cx="704850" cy="923925"/>
          </a:xfrm>
          <a:custGeom>
            <a:avLst/>
            <a:gdLst/>
            <a:ahLst/>
            <a:cxnLst/>
            <a:rect l="l" t="t" r="r" b="b"/>
            <a:pathLst>
              <a:path w="704850" h="923925">
                <a:moveTo>
                  <a:pt x="438150" y="0"/>
                </a:moveTo>
                <a:lnTo>
                  <a:pt x="398462" y="0"/>
                </a:lnTo>
                <a:lnTo>
                  <a:pt x="331787" y="7874"/>
                </a:lnTo>
                <a:lnTo>
                  <a:pt x="258762" y="30099"/>
                </a:lnTo>
                <a:lnTo>
                  <a:pt x="192087" y="68199"/>
                </a:lnTo>
                <a:lnTo>
                  <a:pt x="133350" y="122174"/>
                </a:lnTo>
                <a:lnTo>
                  <a:pt x="106362" y="160274"/>
                </a:lnTo>
                <a:lnTo>
                  <a:pt x="79375" y="196850"/>
                </a:lnTo>
                <a:lnTo>
                  <a:pt x="52387" y="234950"/>
                </a:lnTo>
                <a:lnTo>
                  <a:pt x="33337" y="280924"/>
                </a:lnTo>
                <a:lnTo>
                  <a:pt x="19050" y="325374"/>
                </a:lnTo>
                <a:lnTo>
                  <a:pt x="6350" y="379349"/>
                </a:lnTo>
                <a:lnTo>
                  <a:pt x="0" y="431800"/>
                </a:lnTo>
                <a:lnTo>
                  <a:pt x="0" y="584200"/>
                </a:lnTo>
                <a:lnTo>
                  <a:pt x="12700" y="674624"/>
                </a:lnTo>
                <a:lnTo>
                  <a:pt x="39687" y="757174"/>
                </a:lnTo>
                <a:lnTo>
                  <a:pt x="66675" y="847725"/>
                </a:lnTo>
                <a:lnTo>
                  <a:pt x="158750" y="923925"/>
                </a:lnTo>
                <a:lnTo>
                  <a:pt x="279400" y="909574"/>
                </a:lnTo>
                <a:lnTo>
                  <a:pt x="339725" y="885825"/>
                </a:lnTo>
                <a:lnTo>
                  <a:pt x="431800" y="825500"/>
                </a:lnTo>
                <a:lnTo>
                  <a:pt x="479425" y="781050"/>
                </a:lnTo>
                <a:lnTo>
                  <a:pt x="519112" y="734949"/>
                </a:lnTo>
                <a:lnTo>
                  <a:pt x="552450" y="682625"/>
                </a:lnTo>
                <a:lnTo>
                  <a:pt x="585787" y="628650"/>
                </a:lnTo>
                <a:lnTo>
                  <a:pt x="619125" y="568325"/>
                </a:lnTo>
                <a:lnTo>
                  <a:pt x="638175" y="508000"/>
                </a:lnTo>
                <a:lnTo>
                  <a:pt x="665162" y="447675"/>
                </a:lnTo>
                <a:lnTo>
                  <a:pt x="677862" y="379349"/>
                </a:lnTo>
                <a:lnTo>
                  <a:pt x="692150" y="311150"/>
                </a:lnTo>
                <a:lnTo>
                  <a:pt x="704850" y="174625"/>
                </a:lnTo>
                <a:lnTo>
                  <a:pt x="677862" y="136525"/>
                </a:lnTo>
                <a:lnTo>
                  <a:pt x="638175" y="98425"/>
                </a:lnTo>
                <a:lnTo>
                  <a:pt x="598487" y="68199"/>
                </a:lnTo>
                <a:lnTo>
                  <a:pt x="519112" y="23749"/>
                </a:lnTo>
                <a:lnTo>
                  <a:pt x="479425" y="7874"/>
                </a:lnTo>
                <a:lnTo>
                  <a:pt x="438150" y="0"/>
                </a:lnTo>
                <a:close/>
              </a:path>
            </a:pathLst>
          </a:custGeom>
          <a:solidFill>
            <a:srgbClr val="EC5A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31850" y="2678176"/>
            <a:ext cx="40005" cy="24130"/>
          </a:xfrm>
          <a:custGeom>
            <a:avLst/>
            <a:gdLst/>
            <a:ahLst/>
            <a:cxnLst/>
            <a:rect l="l" t="t" r="r" b="b"/>
            <a:pathLst>
              <a:path w="40005" h="24130">
                <a:moveTo>
                  <a:pt x="0" y="0"/>
                </a:moveTo>
                <a:lnTo>
                  <a:pt x="0" y="7874"/>
                </a:lnTo>
                <a:lnTo>
                  <a:pt x="39687" y="23749"/>
                </a:lnTo>
                <a:lnTo>
                  <a:pt x="33337" y="15875"/>
                </a:lnTo>
                <a:lnTo>
                  <a:pt x="33337" y="7874"/>
                </a:lnTo>
                <a:lnTo>
                  <a:pt x="12700" y="7874"/>
                </a:lnTo>
                <a:lnTo>
                  <a:pt x="0" y="0"/>
                </a:lnTo>
                <a:close/>
              </a:path>
            </a:pathLst>
          </a:custGeom>
          <a:solidFill>
            <a:srgbClr val="EF6F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90575" y="2625725"/>
            <a:ext cx="147955" cy="60325"/>
          </a:xfrm>
          <a:custGeom>
            <a:avLst/>
            <a:gdLst/>
            <a:ahLst/>
            <a:cxnLst/>
            <a:rect l="l" t="t" r="r" b="b"/>
            <a:pathLst>
              <a:path w="147955" h="60325">
                <a:moveTo>
                  <a:pt x="147637" y="0"/>
                </a:moveTo>
                <a:lnTo>
                  <a:pt x="114300" y="14224"/>
                </a:lnTo>
                <a:lnTo>
                  <a:pt x="74612" y="30099"/>
                </a:lnTo>
                <a:lnTo>
                  <a:pt x="0" y="30099"/>
                </a:lnTo>
                <a:lnTo>
                  <a:pt x="26987" y="38100"/>
                </a:lnTo>
                <a:lnTo>
                  <a:pt x="41275" y="52324"/>
                </a:lnTo>
                <a:lnTo>
                  <a:pt x="53975" y="60325"/>
                </a:lnTo>
                <a:lnTo>
                  <a:pt x="74612" y="60325"/>
                </a:lnTo>
                <a:lnTo>
                  <a:pt x="80962" y="38100"/>
                </a:lnTo>
                <a:lnTo>
                  <a:pt x="114300" y="22225"/>
                </a:lnTo>
                <a:lnTo>
                  <a:pt x="147637" y="0"/>
                </a:lnTo>
                <a:close/>
              </a:path>
            </a:pathLst>
          </a:custGeom>
          <a:solidFill>
            <a:srgbClr val="EC5A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811212" y="2686050"/>
            <a:ext cx="66675" cy="68580"/>
          </a:xfrm>
          <a:custGeom>
            <a:avLst/>
            <a:gdLst/>
            <a:ahLst/>
            <a:cxnLst/>
            <a:rect l="l" t="t" r="r" b="b"/>
            <a:pathLst>
              <a:path w="66675" h="68580">
                <a:moveTo>
                  <a:pt x="20637" y="0"/>
                </a:moveTo>
                <a:lnTo>
                  <a:pt x="26987" y="7874"/>
                </a:lnTo>
                <a:lnTo>
                  <a:pt x="0" y="30099"/>
                </a:lnTo>
                <a:lnTo>
                  <a:pt x="46037" y="68199"/>
                </a:lnTo>
                <a:lnTo>
                  <a:pt x="66675" y="38100"/>
                </a:lnTo>
                <a:lnTo>
                  <a:pt x="60325" y="15875"/>
                </a:lnTo>
                <a:lnTo>
                  <a:pt x="20637" y="0"/>
                </a:lnTo>
                <a:close/>
              </a:path>
            </a:pathLst>
          </a:custGeom>
          <a:solidFill>
            <a:srgbClr val="EA2B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44525" y="2481326"/>
            <a:ext cx="446405" cy="182880"/>
          </a:xfrm>
          <a:custGeom>
            <a:avLst/>
            <a:gdLst/>
            <a:ahLst/>
            <a:cxnLst/>
            <a:rect l="l" t="t" r="r" b="b"/>
            <a:pathLst>
              <a:path w="446405" h="182880">
                <a:moveTo>
                  <a:pt x="0" y="60325"/>
                </a:moveTo>
                <a:lnTo>
                  <a:pt x="47625" y="114300"/>
                </a:lnTo>
                <a:lnTo>
                  <a:pt x="100012" y="152400"/>
                </a:lnTo>
                <a:lnTo>
                  <a:pt x="146050" y="174625"/>
                </a:lnTo>
                <a:lnTo>
                  <a:pt x="193675" y="182499"/>
                </a:lnTo>
                <a:lnTo>
                  <a:pt x="260350" y="166624"/>
                </a:lnTo>
                <a:lnTo>
                  <a:pt x="285750" y="152400"/>
                </a:lnTo>
                <a:lnTo>
                  <a:pt x="319087" y="128524"/>
                </a:lnTo>
                <a:lnTo>
                  <a:pt x="365533" y="92075"/>
                </a:lnTo>
                <a:lnTo>
                  <a:pt x="112712" y="92075"/>
                </a:lnTo>
                <a:lnTo>
                  <a:pt x="60325" y="84074"/>
                </a:lnTo>
                <a:lnTo>
                  <a:pt x="0" y="60325"/>
                </a:lnTo>
                <a:close/>
              </a:path>
              <a:path w="446405" h="182880">
                <a:moveTo>
                  <a:pt x="446087" y="0"/>
                </a:moveTo>
                <a:lnTo>
                  <a:pt x="393700" y="30099"/>
                </a:lnTo>
                <a:lnTo>
                  <a:pt x="339725" y="53975"/>
                </a:lnTo>
                <a:lnTo>
                  <a:pt x="285750" y="76200"/>
                </a:lnTo>
                <a:lnTo>
                  <a:pt x="227012" y="92075"/>
                </a:lnTo>
                <a:lnTo>
                  <a:pt x="365533" y="92075"/>
                </a:lnTo>
                <a:lnTo>
                  <a:pt x="385762" y="76200"/>
                </a:lnTo>
                <a:lnTo>
                  <a:pt x="446087" y="0"/>
                </a:lnTo>
                <a:close/>
              </a:path>
            </a:pathLst>
          </a:custGeom>
          <a:solidFill>
            <a:srgbClr val="D2153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25462" y="1565275"/>
            <a:ext cx="332105" cy="598805"/>
          </a:xfrm>
          <a:custGeom>
            <a:avLst/>
            <a:gdLst/>
            <a:ahLst/>
            <a:cxnLst/>
            <a:rect l="l" t="t" r="r" b="b"/>
            <a:pathLst>
              <a:path w="332105" h="598805">
                <a:moveTo>
                  <a:pt x="265112" y="0"/>
                </a:moveTo>
                <a:lnTo>
                  <a:pt x="192087" y="23749"/>
                </a:lnTo>
                <a:lnTo>
                  <a:pt x="152400" y="45974"/>
                </a:lnTo>
                <a:lnTo>
                  <a:pt x="112712" y="98425"/>
                </a:lnTo>
                <a:lnTo>
                  <a:pt x="79375" y="152400"/>
                </a:lnTo>
                <a:lnTo>
                  <a:pt x="46037" y="226949"/>
                </a:lnTo>
                <a:lnTo>
                  <a:pt x="19050" y="303149"/>
                </a:lnTo>
                <a:lnTo>
                  <a:pt x="6350" y="349250"/>
                </a:lnTo>
                <a:lnTo>
                  <a:pt x="0" y="385699"/>
                </a:lnTo>
                <a:lnTo>
                  <a:pt x="0" y="477774"/>
                </a:lnTo>
                <a:lnTo>
                  <a:pt x="12700" y="522350"/>
                </a:lnTo>
                <a:lnTo>
                  <a:pt x="26987" y="560451"/>
                </a:lnTo>
                <a:lnTo>
                  <a:pt x="58737" y="590550"/>
                </a:lnTo>
                <a:lnTo>
                  <a:pt x="85725" y="598551"/>
                </a:lnTo>
                <a:lnTo>
                  <a:pt x="100012" y="590550"/>
                </a:lnTo>
                <a:lnTo>
                  <a:pt x="106362" y="576326"/>
                </a:lnTo>
                <a:lnTo>
                  <a:pt x="112712" y="522350"/>
                </a:lnTo>
                <a:lnTo>
                  <a:pt x="119062" y="484124"/>
                </a:lnTo>
                <a:lnTo>
                  <a:pt x="146050" y="371475"/>
                </a:lnTo>
                <a:lnTo>
                  <a:pt x="179387" y="288925"/>
                </a:lnTo>
                <a:lnTo>
                  <a:pt x="206375" y="234950"/>
                </a:lnTo>
                <a:lnTo>
                  <a:pt x="279400" y="158750"/>
                </a:lnTo>
                <a:lnTo>
                  <a:pt x="298450" y="128524"/>
                </a:lnTo>
                <a:lnTo>
                  <a:pt x="325437" y="92075"/>
                </a:lnTo>
                <a:lnTo>
                  <a:pt x="331787" y="60325"/>
                </a:lnTo>
                <a:lnTo>
                  <a:pt x="325437" y="38100"/>
                </a:lnTo>
                <a:lnTo>
                  <a:pt x="312737" y="15875"/>
                </a:lnTo>
                <a:lnTo>
                  <a:pt x="292100" y="7874"/>
                </a:lnTo>
                <a:lnTo>
                  <a:pt x="265112" y="0"/>
                </a:lnTo>
                <a:close/>
              </a:path>
            </a:pathLst>
          </a:custGeom>
          <a:solidFill>
            <a:srgbClr val="F1878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5462" y="1671701"/>
            <a:ext cx="732155" cy="901700"/>
          </a:xfrm>
          <a:custGeom>
            <a:avLst/>
            <a:gdLst/>
            <a:ahLst/>
            <a:cxnLst/>
            <a:rect l="l" t="t" r="r" b="b"/>
            <a:pathLst>
              <a:path w="732155" h="901700">
                <a:moveTo>
                  <a:pt x="0" y="673100"/>
                </a:moveTo>
                <a:lnTo>
                  <a:pt x="39687" y="749300"/>
                </a:lnTo>
                <a:lnTo>
                  <a:pt x="119062" y="869950"/>
                </a:lnTo>
                <a:lnTo>
                  <a:pt x="179387" y="893699"/>
                </a:lnTo>
                <a:lnTo>
                  <a:pt x="231775" y="901700"/>
                </a:lnTo>
                <a:lnTo>
                  <a:pt x="346075" y="901700"/>
                </a:lnTo>
                <a:lnTo>
                  <a:pt x="404812" y="885825"/>
                </a:lnTo>
                <a:lnTo>
                  <a:pt x="458787" y="863600"/>
                </a:lnTo>
                <a:lnTo>
                  <a:pt x="512762" y="839724"/>
                </a:lnTo>
                <a:lnTo>
                  <a:pt x="565150" y="809625"/>
                </a:lnTo>
                <a:lnTo>
                  <a:pt x="603504" y="749300"/>
                </a:lnTo>
                <a:lnTo>
                  <a:pt x="92075" y="749300"/>
                </a:lnTo>
                <a:lnTo>
                  <a:pt x="0" y="673100"/>
                </a:lnTo>
                <a:close/>
              </a:path>
              <a:path w="732155" h="901700">
                <a:moveTo>
                  <a:pt x="638175" y="0"/>
                </a:moveTo>
                <a:lnTo>
                  <a:pt x="625475" y="136525"/>
                </a:lnTo>
                <a:lnTo>
                  <a:pt x="611187" y="204724"/>
                </a:lnTo>
                <a:lnTo>
                  <a:pt x="598487" y="273050"/>
                </a:lnTo>
                <a:lnTo>
                  <a:pt x="571500" y="333375"/>
                </a:lnTo>
                <a:lnTo>
                  <a:pt x="552450" y="393700"/>
                </a:lnTo>
                <a:lnTo>
                  <a:pt x="519112" y="454025"/>
                </a:lnTo>
                <a:lnTo>
                  <a:pt x="485775" y="508000"/>
                </a:lnTo>
                <a:lnTo>
                  <a:pt x="452437" y="560324"/>
                </a:lnTo>
                <a:lnTo>
                  <a:pt x="412750" y="606425"/>
                </a:lnTo>
                <a:lnTo>
                  <a:pt x="365125" y="650875"/>
                </a:lnTo>
                <a:lnTo>
                  <a:pt x="273050" y="711200"/>
                </a:lnTo>
                <a:lnTo>
                  <a:pt x="212725" y="734949"/>
                </a:lnTo>
                <a:lnTo>
                  <a:pt x="92075" y="749300"/>
                </a:lnTo>
                <a:lnTo>
                  <a:pt x="603504" y="749300"/>
                </a:lnTo>
                <a:lnTo>
                  <a:pt x="631825" y="704850"/>
                </a:lnTo>
                <a:lnTo>
                  <a:pt x="658812" y="642874"/>
                </a:lnTo>
                <a:lnTo>
                  <a:pt x="684212" y="582549"/>
                </a:lnTo>
                <a:lnTo>
                  <a:pt x="704850" y="514350"/>
                </a:lnTo>
                <a:lnTo>
                  <a:pt x="717550" y="446024"/>
                </a:lnTo>
                <a:lnTo>
                  <a:pt x="725487" y="385699"/>
                </a:lnTo>
                <a:lnTo>
                  <a:pt x="731837" y="317500"/>
                </a:lnTo>
                <a:lnTo>
                  <a:pt x="725487" y="226949"/>
                </a:lnTo>
                <a:lnTo>
                  <a:pt x="711200" y="144399"/>
                </a:lnTo>
                <a:lnTo>
                  <a:pt x="677862" y="68199"/>
                </a:lnTo>
                <a:lnTo>
                  <a:pt x="638175" y="0"/>
                </a:lnTo>
                <a:close/>
              </a:path>
            </a:pathLst>
          </a:custGeom>
          <a:solidFill>
            <a:srgbClr val="EA2B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81376" y="1527175"/>
            <a:ext cx="805180" cy="1265555"/>
          </a:xfrm>
          <a:custGeom>
            <a:avLst/>
            <a:gdLst/>
            <a:ahLst/>
            <a:cxnLst/>
            <a:rect l="l" t="t" r="r" b="b"/>
            <a:pathLst>
              <a:path w="805179" h="1265555">
                <a:moveTo>
                  <a:pt x="398399" y="0"/>
                </a:moveTo>
                <a:lnTo>
                  <a:pt x="331724" y="7874"/>
                </a:lnTo>
                <a:lnTo>
                  <a:pt x="265049" y="31750"/>
                </a:lnTo>
                <a:lnTo>
                  <a:pt x="198374" y="76200"/>
                </a:lnTo>
                <a:lnTo>
                  <a:pt x="139700" y="130175"/>
                </a:lnTo>
                <a:lnTo>
                  <a:pt x="106299" y="160274"/>
                </a:lnTo>
                <a:lnTo>
                  <a:pt x="85725" y="196850"/>
                </a:lnTo>
                <a:lnTo>
                  <a:pt x="58674" y="242824"/>
                </a:lnTo>
                <a:lnTo>
                  <a:pt x="39624" y="288925"/>
                </a:lnTo>
                <a:lnTo>
                  <a:pt x="25400" y="333375"/>
                </a:lnTo>
                <a:lnTo>
                  <a:pt x="12700" y="387350"/>
                </a:lnTo>
                <a:lnTo>
                  <a:pt x="6350" y="439674"/>
                </a:lnTo>
                <a:lnTo>
                  <a:pt x="0" y="499999"/>
                </a:lnTo>
                <a:lnTo>
                  <a:pt x="6350" y="590550"/>
                </a:lnTo>
                <a:lnTo>
                  <a:pt x="19050" y="682625"/>
                </a:lnTo>
                <a:lnTo>
                  <a:pt x="39624" y="765175"/>
                </a:lnTo>
                <a:lnTo>
                  <a:pt x="73025" y="849249"/>
                </a:lnTo>
                <a:lnTo>
                  <a:pt x="112649" y="923925"/>
                </a:lnTo>
                <a:lnTo>
                  <a:pt x="152400" y="992251"/>
                </a:lnTo>
                <a:lnTo>
                  <a:pt x="192024" y="1052576"/>
                </a:lnTo>
                <a:lnTo>
                  <a:pt x="225425" y="1090676"/>
                </a:lnTo>
                <a:lnTo>
                  <a:pt x="265049" y="1120775"/>
                </a:lnTo>
                <a:lnTo>
                  <a:pt x="304800" y="1144651"/>
                </a:lnTo>
                <a:lnTo>
                  <a:pt x="338074" y="1166876"/>
                </a:lnTo>
                <a:lnTo>
                  <a:pt x="365125" y="1174750"/>
                </a:lnTo>
                <a:lnTo>
                  <a:pt x="371475" y="1188974"/>
                </a:lnTo>
                <a:lnTo>
                  <a:pt x="379349" y="1196975"/>
                </a:lnTo>
                <a:lnTo>
                  <a:pt x="379349" y="1204849"/>
                </a:lnTo>
                <a:lnTo>
                  <a:pt x="358775" y="1227074"/>
                </a:lnTo>
                <a:lnTo>
                  <a:pt x="404749" y="1265174"/>
                </a:lnTo>
                <a:lnTo>
                  <a:pt x="425450" y="1235075"/>
                </a:lnTo>
                <a:lnTo>
                  <a:pt x="412750" y="1211199"/>
                </a:lnTo>
                <a:lnTo>
                  <a:pt x="404749" y="1204849"/>
                </a:lnTo>
                <a:lnTo>
                  <a:pt x="412750" y="1196975"/>
                </a:lnTo>
                <a:lnTo>
                  <a:pt x="419100" y="1174750"/>
                </a:lnTo>
                <a:lnTo>
                  <a:pt x="465074" y="1151001"/>
                </a:lnTo>
                <a:lnTo>
                  <a:pt x="504825" y="1128776"/>
                </a:lnTo>
                <a:lnTo>
                  <a:pt x="552450" y="1090676"/>
                </a:lnTo>
                <a:lnTo>
                  <a:pt x="598424" y="1046226"/>
                </a:lnTo>
                <a:lnTo>
                  <a:pt x="638175" y="992251"/>
                </a:lnTo>
                <a:lnTo>
                  <a:pt x="671449" y="939800"/>
                </a:lnTo>
                <a:lnTo>
                  <a:pt x="704850" y="879475"/>
                </a:lnTo>
                <a:lnTo>
                  <a:pt x="731774" y="825500"/>
                </a:lnTo>
                <a:lnTo>
                  <a:pt x="750824" y="757174"/>
                </a:lnTo>
                <a:lnTo>
                  <a:pt x="771525" y="696849"/>
                </a:lnTo>
                <a:lnTo>
                  <a:pt x="790575" y="628650"/>
                </a:lnTo>
                <a:lnTo>
                  <a:pt x="798449" y="560324"/>
                </a:lnTo>
                <a:lnTo>
                  <a:pt x="804799" y="499999"/>
                </a:lnTo>
                <a:lnTo>
                  <a:pt x="798449" y="401574"/>
                </a:lnTo>
                <a:lnTo>
                  <a:pt x="777875" y="319024"/>
                </a:lnTo>
                <a:lnTo>
                  <a:pt x="750824" y="242824"/>
                </a:lnTo>
                <a:lnTo>
                  <a:pt x="711200" y="182499"/>
                </a:lnTo>
                <a:lnTo>
                  <a:pt x="644525" y="106299"/>
                </a:lnTo>
                <a:lnTo>
                  <a:pt x="604774" y="76200"/>
                </a:lnTo>
                <a:lnTo>
                  <a:pt x="525399" y="31750"/>
                </a:lnTo>
                <a:lnTo>
                  <a:pt x="485775" y="15875"/>
                </a:lnTo>
                <a:lnTo>
                  <a:pt x="444500" y="7874"/>
                </a:lnTo>
                <a:lnTo>
                  <a:pt x="398399" y="0"/>
                </a:lnTo>
                <a:close/>
              </a:path>
            </a:pathLst>
          </a:custGeom>
          <a:solidFill>
            <a:srgbClr val="00AA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81376" y="1527175"/>
            <a:ext cx="711200" cy="932180"/>
          </a:xfrm>
          <a:custGeom>
            <a:avLst/>
            <a:gdLst/>
            <a:ahLst/>
            <a:cxnLst/>
            <a:rect l="l" t="t" r="r" b="b"/>
            <a:pathLst>
              <a:path w="711200" h="932180">
                <a:moveTo>
                  <a:pt x="398399" y="0"/>
                </a:moveTo>
                <a:lnTo>
                  <a:pt x="331724" y="7874"/>
                </a:lnTo>
                <a:lnTo>
                  <a:pt x="265049" y="31750"/>
                </a:lnTo>
                <a:lnTo>
                  <a:pt x="198374" y="76200"/>
                </a:lnTo>
                <a:lnTo>
                  <a:pt x="139700" y="130175"/>
                </a:lnTo>
                <a:lnTo>
                  <a:pt x="106299" y="160274"/>
                </a:lnTo>
                <a:lnTo>
                  <a:pt x="85725" y="196850"/>
                </a:lnTo>
                <a:lnTo>
                  <a:pt x="58674" y="242824"/>
                </a:lnTo>
                <a:lnTo>
                  <a:pt x="39624" y="288925"/>
                </a:lnTo>
                <a:lnTo>
                  <a:pt x="25400" y="333375"/>
                </a:lnTo>
                <a:lnTo>
                  <a:pt x="12700" y="387350"/>
                </a:lnTo>
                <a:lnTo>
                  <a:pt x="6350" y="439674"/>
                </a:lnTo>
                <a:lnTo>
                  <a:pt x="0" y="499999"/>
                </a:lnTo>
                <a:lnTo>
                  <a:pt x="6350" y="590550"/>
                </a:lnTo>
                <a:lnTo>
                  <a:pt x="19050" y="682625"/>
                </a:lnTo>
                <a:lnTo>
                  <a:pt x="39624" y="765175"/>
                </a:lnTo>
                <a:lnTo>
                  <a:pt x="73025" y="849376"/>
                </a:lnTo>
                <a:lnTo>
                  <a:pt x="118999" y="893826"/>
                </a:lnTo>
                <a:lnTo>
                  <a:pt x="165100" y="931926"/>
                </a:lnTo>
                <a:lnTo>
                  <a:pt x="225425" y="923925"/>
                </a:lnTo>
                <a:lnTo>
                  <a:pt x="285750" y="909701"/>
                </a:lnTo>
                <a:lnTo>
                  <a:pt x="338074" y="893826"/>
                </a:lnTo>
                <a:lnTo>
                  <a:pt x="392049" y="863600"/>
                </a:lnTo>
                <a:lnTo>
                  <a:pt x="438150" y="825500"/>
                </a:lnTo>
                <a:lnTo>
                  <a:pt x="485775" y="787400"/>
                </a:lnTo>
                <a:lnTo>
                  <a:pt x="525399" y="742950"/>
                </a:lnTo>
                <a:lnTo>
                  <a:pt x="558800" y="688975"/>
                </a:lnTo>
                <a:lnTo>
                  <a:pt x="592074" y="636524"/>
                </a:lnTo>
                <a:lnTo>
                  <a:pt x="617474" y="576199"/>
                </a:lnTo>
                <a:lnTo>
                  <a:pt x="644525" y="515874"/>
                </a:lnTo>
                <a:lnTo>
                  <a:pt x="665099" y="455549"/>
                </a:lnTo>
                <a:lnTo>
                  <a:pt x="684149" y="387350"/>
                </a:lnTo>
                <a:lnTo>
                  <a:pt x="698500" y="319024"/>
                </a:lnTo>
                <a:lnTo>
                  <a:pt x="711200" y="182499"/>
                </a:lnTo>
                <a:lnTo>
                  <a:pt x="644525" y="106299"/>
                </a:lnTo>
                <a:lnTo>
                  <a:pt x="604774" y="76200"/>
                </a:lnTo>
                <a:lnTo>
                  <a:pt x="525399" y="31750"/>
                </a:lnTo>
                <a:lnTo>
                  <a:pt x="485775" y="15875"/>
                </a:lnTo>
                <a:lnTo>
                  <a:pt x="444500" y="7874"/>
                </a:lnTo>
                <a:lnTo>
                  <a:pt x="398399" y="0"/>
                </a:lnTo>
                <a:close/>
              </a:path>
            </a:pathLst>
          </a:custGeom>
          <a:solidFill>
            <a:srgbClr val="40B7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252851" y="2716148"/>
            <a:ext cx="41275" cy="22225"/>
          </a:xfrm>
          <a:custGeom>
            <a:avLst/>
            <a:gdLst/>
            <a:ahLst/>
            <a:cxnLst/>
            <a:rect l="l" t="t" r="r" b="b"/>
            <a:pathLst>
              <a:path w="41275" h="22225">
                <a:moveTo>
                  <a:pt x="20574" y="0"/>
                </a:moveTo>
                <a:lnTo>
                  <a:pt x="0" y="0"/>
                </a:lnTo>
                <a:lnTo>
                  <a:pt x="7874" y="8000"/>
                </a:lnTo>
                <a:lnTo>
                  <a:pt x="41275" y="22225"/>
                </a:lnTo>
                <a:lnTo>
                  <a:pt x="33274" y="15875"/>
                </a:lnTo>
                <a:lnTo>
                  <a:pt x="41275" y="8000"/>
                </a:lnTo>
                <a:lnTo>
                  <a:pt x="20574" y="0"/>
                </a:lnTo>
                <a:close/>
              </a:path>
            </a:pathLst>
          </a:custGeom>
          <a:solidFill>
            <a:srgbClr val="0092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213100" y="2663825"/>
            <a:ext cx="154305" cy="60325"/>
          </a:xfrm>
          <a:custGeom>
            <a:avLst/>
            <a:gdLst/>
            <a:ahLst/>
            <a:cxnLst/>
            <a:rect l="l" t="t" r="r" b="b"/>
            <a:pathLst>
              <a:path w="154304" h="60325">
                <a:moveTo>
                  <a:pt x="0" y="22225"/>
                </a:moveTo>
                <a:lnTo>
                  <a:pt x="33274" y="38100"/>
                </a:lnTo>
                <a:lnTo>
                  <a:pt x="39750" y="52324"/>
                </a:lnTo>
                <a:lnTo>
                  <a:pt x="60325" y="52324"/>
                </a:lnTo>
                <a:lnTo>
                  <a:pt x="81025" y="60325"/>
                </a:lnTo>
                <a:lnTo>
                  <a:pt x="87375" y="38100"/>
                </a:lnTo>
                <a:lnTo>
                  <a:pt x="104146" y="30099"/>
                </a:lnTo>
                <a:lnTo>
                  <a:pt x="39750" y="30099"/>
                </a:lnTo>
                <a:lnTo>
                  <a:pt x="0" y="22225"/>
                </a:lnTo>
                <a:close/>
              </a:path>
              <a:path w="154304" h="60325">
                <a:moveTo>
                  <a:pt x="154050" y="0"/>
                </a:moveTo>
                <a:lnTo>
                  <a:pt x="112775" y="14224"/>
                </a:lnTo>
                <a:lnTo>
                  <a:pt x="81025" y="30099"/>
                </a:lnTo>
                <a:lnTo>
                  <a:pt x="104146" y="30099"/>
                </a:lnTo>
                <a:lnTo>
                  <a:pt x="120650" y="22225"/>
                </a:lnTo>
                <a:lnTo>
                  <a:pt x="154050" y="0"/>
                </a:lnTo>
                <a:close/>
              </a:path>
            </a:pathLst>
          </a:custGeom>
          <a:solidFill>
            <a:srgbClr val="00AA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240151" y="2724150"/>
            <a:ext cx="66675" cy="68580"/>
          </a:xfrm>
          <a:custGeom>
            <a:avLst/>
            <a:gdLst/>
            <a:ahLst/>
            <a:cxnLst/>
            <a:rect l="l" t="t" r="r" b="b"/>
            <a:pathLst>
              <a:path w="66675" h="68580">
                <a:moveTo>
                  <a:pt x="20574" y="0"/>
                </a:moveTo>
                <a:lnTo>
                  <a:pt x="20574" y="7874"/>
                </a:lnTo>
                <a:lnTo>
                  <a:pt x="0" y="30099"/>
                </a:lnTo>
                <a:lnTo>
                  <a:pt x="45974" y="68199"/>
                </a:lnTo>
                <a:lnTo>
                  <a:pt x="66675" y="38100"/>
                </a:lnTo>
                <a:lnTo>
                  <a:pt x="53975" y="14224"/>
                </a:lnTo>
                <a:lnTo>
                  <a:pt x="20574" y="0"/>
                </a:lnTo>
                <a:close/>
              </a:path>
            </a:pathLst>
          </a:custGeom>
          <a:solidFill>
            <a:srgbClr val="00AA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073400" y="2519426"/>
            <a:ext cx="446405" cy="182880"/>
          </a:xfrm>
          <a:custGeom>
            <a:avLst/>
            <a:gdLst/>
            <a:ahLst/>
            <a:cxnLst/>
            <a:rect l="l" t="t" r="r" b="b"/>
            <a:pathLst>
              <a:path w="446404" h="182880">
                <a:moveTo>
                  <a:pt x="0" y="60325"/>
                </a:moveTo>
                <a:lnTo>
                  <a:pt x="47625" y="106299"/>
                </a:lnTo>
                <a:lnTo>
                  <a:pt x="93599" y="144399"/>
                </a:lnTo>
                <a:lnTo>
                  <a:pt x="146050" y="166624"/>
                </a:lnTo>
                <a:lnTo>
                  <a:pt x="193675" y="182499"/>
                </a:lnTo>
                <a:lnTo>
                  <a:pt x="227075" y="174625"/>
                </a:lnTo>
                <a:lnTo>
                  <a:pt x="252475" y="166624"/>
                </a:lnTo>
                <a:lnTo>
                  <a:pt x="285750" y="152400"/>
                </a:lnTo>
                <a:lnTo>
                  <a:pt x="319150" y="128524"/>
                </a:lnTo>
                <a:lnTo>
                  <a:pt x="367700" y="90424"/>
                </a:lnTo>
                <a:lnTo>
                  <a:pt x="112775" y="90424"/>
                </a:lnTo>
                <a:lnTo>
                  <a:pt x="53975" y="84074"/>
                </a:lnTo>
                <a:lnTo>
                  <a:pt x="0" y="60325"/>
                </a:lnTo>
                <a:close/>
              </a:path>
              <a:path w="446404" h="182880">
                <a:moveTo>
                  <a:pt x="446150" y="0"/>
                </a:moveTo>
                <a:lnTo>
                  <a:pt x="393700" y="22225"/>
                </a:lnTo>
                <a:lnTo>
                  <a:pt x="339725" y="53975"/>
                </a:lnTo>
                <a:lnTo>
                  <a:pt x="279400" y="68199"/>
                </a:lnTo>
                <a:lnTo>
                  <a:pt x="227075" y="84074"/>
                </a:lnTo>
                <a:lnTo>
                  <a:pt x="166750" y="90424"/>
                </a:lnTo>
                <a:lnTo>
                  <a:pt x="367700" y="90424"/>
                </a:lnTo>
                <a:lnTo>
                  <a:pt x="385825" y="76200"/>
                </a:lnTo>
                <a:lnTo>
                  <a:pt x="446150" y="0"/>
                </a:lnTo>
                <a:close/>
              </a:path>
            </a:pathLst>
          </a:custGeom>
          <a:solidFill>
            <a:srgbClr val="0092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948051" y="1603375"/>
            <a:ext cx="338455" cy="598805"/>
          </a:xfrm>
          <a:custGeom>
            <a:avLst/>
            <a:gdLst/>
            <a:ahLst/>
            <a:cxnLst/>
            <a:rect l="l" t="t" r="r" b="b"/>
            <a:pathLst>
              <a:path w="338454" h="598805">
                <a:moveTo>
                  <a:pt x="298450" y="0"/>
                </a:moveTo>
                <a:lnTo>
                  <a:pt x="265049" y="0"/>
                </a:lnTo>
                <a:lnTo>
                  <a:pt x="231775" y="7874"/>
                </a:lnTo>
                <a:lnTo>
                  <a:pt x="158750" y="45974"/>
                </a:lnTo>
                <a:lnTo>
                  <a:pt x="118999" y="98425"/>
                </a:lnTo>
                <a:lnTo>
                  <a:pt x="85725" y="152400"/>
                </a:lnTo>
                <a:lnTo>
                  <a:pt x="52324" y="219075"/>
                </a:lnTo>
                <a:lnTo>
                  <a:pt x="19050" y="303149"/>
                </a:lnTo>
                <a:lnTo>
                  <a:pt x="12700" y="341249"/>
                </a:lnTo>
                <a:lnTo>
                  <a:pt x="6350" y="385699"/>
                </a:lnTo>
                <a:lnTo>
                  <a:pt x="0" y="431800"/>
                </a:lnTo>
                <a:lnTo>
                  <a:pt x="6350" y="477774"/>
                </a:lnTo>
                <a:lnTo>
                  <a:pt x="19050" y="514350"/>
                </a:lnTo>
                <a:lnTo>
                  <a:pt x="33274" y="560451"/>
                </a:lnTo>
                <a:lnTo>
                  <a:pt x="65024" y="590550"/>
                </a:lnTo>
                <a:lnTo>
                  <a:pt x="85725" y="598551"/>
                </a:lnTo>
                <a:lnTo>
                  <a:pt x="106299" y="590550"/>
                </a:lnTo>
                <a:lnTo>
                  <a:pt x="112649" y="576326"/>
                </a:lnTo>
                <a:lnTo>
                  <a:pt x="118999" y="522350"/>
                </a:lnTo>
                <a:lnTo>
                  <a:pt x="118999" y="484124"/>
                </a:lnTo>
                <a:lnTo>
                  <a:pt x="152400" y="371475"/>
                </a:lnTo>
                <a:lnTo>
                  <a:pt x="179324" y="287274"/>
                </a:lnTo>
                <a:lnTo>
                  <a:pt x="204724" y="234950"/>
                </a:lnTo>
                <a:lnTo>
                  <a:pt x="231775" y="196850"/>
                </a:lnTo>
                <a:lnTo>
                  <a:pt x="279400" y="158750"/>
                </a:lnTo>
                <a:lnTo>
                  <a:pt x="304800" y="128524"/>
                </a:lnTo>
                <a:lnTo>
                  <a:pt x="325374" y="90424"/>
                </a:lnTo>
                <a:lnTo>
                  <a:pt x="338074" y="60325"/>
                </a:lnTo>
                <a:lnTo>
                  <a:pt x="331724" y="38100"/>
                </a:lnTo>
                <a:lnTo>
                  <a:pt x="319024" y="15875"/>
                </a:lnTo>
                <a:lnTo>
                  <a:pt x="298450" y="0"/>
                </a:lnTo>
                <a:close/>
              </a:path>
            </a:pathLst>
          </a:custGeom>
          <a:solidFill>
            <a:srgbClr val="7AC58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284350" y="1838325"/>
            <a:ext cx="725805" cy="1127125"/>
          </a:xfrm>
          <a:custGeom>
            <a:avLst/>
            <a:gdLst/>
            <a:ahLst/>
            <a:cxnLst/>
            <a:rect l="l" t="t" r="r" b="b"/>
            <a:pathLst>
              <a:path w="725805" h="1127125">
                <a:moveTo>
                  <a:pt x="365125" y="1074674"/>
                </a:moveTo>
                <a:lnTo>
                  <a:pt x="346075" y="1074674"/>
                </a:lnTo>
                <a:lnTo>
                  <a:pt x="325374" y="1096899"/>
                </a:lnTo>
                <a:lnTo>
                  <a:pt x="365125" y="1127125"/>
                </a:lnTo>
                <a:lnTo>
                  <a:pt x="385699" y="1104900"/>
                </a:lnTo>
                <a:lnTo>
                  <a:pt x="371475" y="1090549"/>
                </a:lnTo>
                <a:lnTo>
                  <a:pt x="365125" y="1074674"/>
                </a:lnTo>
                <a:close/>
              </a:path>
              <a:path w="725805" h="1127125">
                <a:moveTo>
                  <a:pt x="398399" y="0"/>
                </a:moveTo>
                <a:lnTo>
                  <a:pt x="365125" y="0"/>
                </a:lnTo>
                <a:lnTo>
                  <a:pt x="298450" y="7874"/>
                </a:lnTo>
                <a:lnTo>
                  <a:pt x="239649" y="30099"/>
                </a:lnTo>
                <a:lnTo>
                  <a:pt x="179324" y="60325"/>
                </a:lnTo>
                <a:lnTo>
                  <a:pt x="125349" y="112649"/>
                </a:lnTo>
                <a:lnTo>
                  <a:pt x="73025" y="174625"/>
                </a:lnTo>
                <a:lnTo>
                  <a:pt x="39624" y="249174"/>
                </a:lnTo>
                <a:lnTo>
                  <a:pt x="25400" y="295275"/>
                </a:lnTo>
                <a:lnTo>
                  <a:pt x="12700" y="341249"/>
                </a:lnTo>
                <a:lnTo>
                  <a:pt x="0" y="446024"/>
                </a:lnTo>
                <a:lnTo>
                  <a:pt x="6350" y="530225"/>
                </a:lnTo>
                <a:lnTo>
                  <a:pt x="19050" y="604774"/>
                </a:lnTo>
                <a:lnTo>
                  <a:pt x="39624" y="688975"/>
                </a:lnTo>
                <a:lnTo>
                  <a:pt x="66675" y="765175"/>
                </a:lnTo>
                <a:lnTo>
                  <a:pt x="98425" y="833374"/>
                </a:lnTo>
                <a:lnTo>
                  <a:pt x="131699" y="893699"/>
                </a:lnTo>
                <a:lnTo>
                  <a:pt x="172974" y="946150"/>
                </a:lnTo>
                <a:lnTo>
                  <a:pt x="239649" y="1006475"/>
                </a:lnTo>
                <a:lnTo>
                  <a:pt x="271399" y="1028700"/>
                </a:lnTo>
                <a:lnTo>
                  <a:pt x="331724" y="1052449"/>
                </a:lnTo>
                <a:lnTo>
                  <a:pt x="338074" y="1066800"/>
                </a:lnTo>
                <a:lnTo>
                  <a:pt x="338074" y="1074674"/>
                </a:lnTo>
                <a:lnTo>
                  <a:pt x="371475" y="1074674"/>
                </a:lnTo>
                <a:lnTo>
                  <a:pt x="379349" y="1052449"/>
                </a:lnTo>
                <a:lnTo>
                  <a:pt x="419100" y="1028700"/>
                </a:lnTo>
                <a:lnTo>
                  <a:pt x="458724" y="1006475"/>
                </a:lnTo>
                <a:lnTo>
                  <a:pt x="498475" y="976249"/>
                </a:lnTo>
                <a:lnTo>
                  <a:pt x="538099" y="931799"/>
                </a:lnTo>
                <a:lnTo>
                  <a:pt x="571500" y="885825"/>
                </a:lnTo>
                <a:lnTo>
                  <a:pt x="631825" y="787400"/>
                </a:lnTo>
                <a:lnTo>
                  <a:pt x="658749" y="734949"/>
                </a:lnTo>
                <a:lnTo>
                  <a:pt x="677799" y="680974"/>
                </a:lnTo>
                <a:lnTo>
                  <a:pt x="698500" y="620649"/>
                </a:lnTo>
                <a:lnTo>
                  <a:pt x="711200" y="560324"/>
                </a:lnTo>
                <a:lnTo>
                  <a:pt x="717550" y="506349"/>
                </a:lnTo>
                <a:lnTo>
                  <a:pt x="725424" y="446024"/>
                </a:lnTo>
                <a:lnTo>
                  <a:pt x="717550" y="363474"/>
                </a:lnTo>
                <a:lnTo>
                  <a:pt x="704850" y="287274"/>
                </a:lnTo>
                <a:lnTo>
                  <a:pt x="677799" y="219075"/>
                </a:lnTo>
                <a:lnTo>
                  <a:pt x="644525" y="158750"/>
                </a:lnTo>
                <a:lnTo>
                  <a:pt x="611124" y="120650"/>
                </a:lnTo>
                <a:lnTo>
                  <a:pt x="544449" y="60325"/>
                </a:lnTo>
                <a:lnTo>
                  <a:pt x="511175" y="38100"/>
                </a:lnTo>
                <a:lnTo>
                  <a:pt x="471424" y="22225"/>
                </a:lnTo>
                <a:lnTo>
                  <a:pt x="438150" y="7874"/>
                </a:lnTo>
                <a:lnTo>
                  <a:pt x="398399" y="0"/>
                </a:lnTo>
                <a:close/>
              </a:path>
            </a:pathLst>
          </a:custGeom>
          <a:solidFill>
            <a:srgbClr val="FCD7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284350" y="1838325"/>
            <a:ext cx="644525" cy="833755"/>
          </a:xfrm>
          <a:custGeom>
            <a:avLst/>
            <a:gdLst/>
            <a:ahLst/>
            <a:cxnLst/>
            <a:rect l="l" t="t" r="r" b="b"/>
            <a:pathLst>
              <a:path w="644525" h="833755">
                <a:moveTo>
                  <a:pt x="398399" y="0"/>
                </a:moveTo>
                <a:lnTo>
                  <a:pt x="365125" y="0"/>
                </a:lnTo>
                <a:lnTo>
                  <a:pt x="298450" y="7874"/>
                </a:lnTo>
                <a:lnTo>
                  <a:pt x="239649" y="30099"/>
                </a:lnTo>
                <a:lnTo>
                  <a:pt x="179324" y="60325"/>
                </a:lnTo>
                <a:lnTo>
                  <a:pt x="125349" y="112649"/>
                </a:lnTo>
                <a:lnTo>
                  <a:pt x="73025" y="174625"/>
                </a:lnTo>
                <a:lnTo>
                  <a:pt x="39624" y="249174"/>
                </a:lnTo>
                <a:lnTo>
                  <a:pt x="25400" y="295275"/>
                </a:lnTo>
                <a:lnTo>
                  <a:pt x="12700" y="341249"/>
                </a:lnTo>
                <a:lnTo>
                  <a:pt x="0" y="446024"/>
                </a:lnTo>
                <a:lnTo>
                  <a:pt x="6350" y="530225"/>
                </a:lnTo>
                <a:lnTo>
                  <a:pt x="19050" y="604901"/>
                </a:lnTo>
                <a:lnTo>
                  <a:pt x="39624" y="688975"/>
                </a:lnTo>
                <a:lnTo>
                  <a:pt x="66675" y="765175"/>
                </a:lnTo>
                <a:lnTo>
                  <a:pt x="106299" y="801751"/>
                </a:lnTo>
                <a:lnTo>
                  <a:pt x="152400" y="833501"/>
                </a:lnTo>
                <a:lnTo>
                  <a:pt x="206375" y="833501"/>
                </a:lnTo>
                <a:lnTo>
                  <a:pt x="258699" y="817626"/>
                </a:lnTo>
                <a:lnTo>
                  <a:pt x="304800" y="795401"/>
                </a:lnTo>
                <a:lnTo>
                  <a:pt x="352425" y="771525"/>
                </a:lnTo>
                <a:lnTo>
                  <a:pt x="398399" y="741426"/>
                </a:lnTo>
                <a:lnTo>
                  <a:pt x="438150" y="703326"/>
                </a:lnTo>
                <a:lnTo>
                  <a:pt x="471424" y="666750"/>
                </a:lnTo>
                <a:lnTo>
                  <a:pt x="504825" y="620776"/>
                </a:lnTo>
                <a:lnTo>
                  <a:pt x="531749" y="568325"/>
                </a:lnTo>
                <a:lnTo>
                  <a:pt x="558800" y="514350"/>
                </a:lnTo>
                <a:lnTo>
                  <a:pt x="584200" y="461899"/>
                </a:lnTo>
                <a:lnTo>
                  <a:pt x="598424" y="401574"/>
                </a:lnTo>
                <a:lnTo>
                  <a:pt x="631825" y="279400"/>
                </a:lnTo>
                <a:lnTo>
                  <a:pt x="644525" y="158750"/>
                </a:lnTo>
                <a:lnTo>
                  <a:pt x="611124" y="120650"/>
                </a:lnTo>
                <a:lnTo>
                  <a:pt x="544449" y="60325"/>
                </a:lnTo>
                <a:lnTo>
                  <a:pt x="511175" y="38100"/>
                </a:lnTo>
                <a:lnTo>
                  <a:pt x="471424" y="22225"/>
                </a:lnTo>
                <a:lnTo>
                  <a:pt x="438150" y="7874"/>
                </a:lnTo>
                <a:lnTo>
                  <a:pt x="398399" y="0"/>
                </a:lnTo>
                <a:close/>
              </a:path>
            </a:pathLst>
          </a:custGeom>
          <a:solidFill>
            <a:srgbClr val="FCD7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622425" y="2905125"/>
            <a:ext cx="33655" cy="24130"/>
          </a:xfrm>
          <a:custGeom>
            <a:avLst/>
            <a:gdLst/>
            <a:ahLst/>
            <a:cxnLst/>
            <a:rect l="l" t="t" r="r" b="b"/>
            <a:pathLst>
              <a:path w="33655" h="24130">
                <a:moveTo>
                  <a:pt x="14350" y="0"/>
                </a:moveTo>
                <a:lnTo>
                  <a:pt x="0" y="0"/>
                </a:lnTo>
                <a:lnTo>
                  <a:pt x="0" y="7874"/>
                </a:lnTo>
                <a:lnTo>
                  <a:pt x="33400" y="23749"/>
                </a:lnTo>
                <a:lnTo>
                  <a:pt x="27050" y="7874"/>
                </a:lnTo>
                <a:lnTo>
                  <a:pt x="33400" y="7874"/>
                </a:lnTo>
                <a:lnTo>
                  <a:pt x="14350" y="0"/>
                </a:lnTo>
                <a:close/>
              </a:path>
            </a:pathLst>
          </a:custGeom>
          <a:solidFill>
            <a:srgbClr val="F9C2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589150" y="2874898"/>
            <a:ext cx="100330" cy="38100"/>
          </a:xfrm>
          <a:custGeom>
            <a:avLst/>
            <a:gdLst/>
            <a:ahLst/>
            <a:cxnLst/>
            <a:rect l="l" t="t" r="r" b="b"/>
            <a:pathLst>
              <a:path w="100330" h="38100">
                <a:moveTo>
                  <a:pt x="0" y="0"/>
                </a:moveTo>
                <a:lnTo>
                  <a:pt x="26924" y="15875"/>
                </a:lnTo>
                <a:lnTo>
                  <a:pt x="33274" y="30225"/>
                </a:lnTo>
                <a:lnTo>
                  <a:pt x="47625" y="30225"/>
                </a:lnTo>
                <a:lnTo>
                  <a:pt x="66675" y="38100"/>
                </a:lnTo>
                <a:lnTo>
                  <a:pt x="74549" y="15875"/>
                </a:lnTo>
                <a:lnTo>
                  <a:pt x="87147" y="8000"/>
                </a:lnTo>
                <a:lnTo>
                  <a:pt x="33274" y="8000"/>
                </a:lnTo>
                <a:lnTo>
                  <a:pt x="0" y="0"/>
                </a:lnTo>
                <a:close/>
              </a:path>
              <a:path w="100330" h="38100">
                <a:moveTo>
                  <a:pt x="99949" y="0"/>
                </a:moveTo>
                <a:lnTo>
                  <a:pt x="66675" y="8000"/>
                </a:lnTo>
                <a:lnTo>
                  <a:pt x="87147" y="8000"/>
                </a:lnTo>
                <a:lnTo>
                  <a:pt x="99949" y="0"/>
                </a:lnTo>
                <a:close/>
              </a:path>
            </a:pathLst>
          </a:custGeom>
          <a:solidFill>
            <a:srgbClr val="F9C2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609725" y="2912998"/>
            <a:ext cx="60325" cy="52705"/>
          </a:xfrm>
          <a:custGeom>
            <a:avLst/>
            <a:gdLst/>
            <a:ahLst/>
            <a:cxnLst/>
            <a:rect l="l" t="t" r="r" b="b"/>
            <a:pathLst>
              <a:path w="60325" h="52705">
                <a:moveTo>
                  <a:pt x="18157" y="2624"/>
                </a:moveTo>
                <a:lnTo>
                  <a:pt x="0" y="22351"/>
                </a:lnTo>
                <a:lnTo>
                  <a:pt x="39624" y="52450"/>
                </a:lnTo>
                <a:lnTo>
                  <a:pt x="60325" y="30225"/>
                </a:lnTo>
                <a:lnTo>
                  <a:pt x="45974" y="16001"/>
                </a:lnTo>
                <a:lnTo>
                  <a:pt x="18157" y="2624"/>
                </a:lnTo>
                <a:close/>
              </a:path>
              <a:path w="60325" h="52705">
                <a:moveTo>
                  <a:pt x="20574" y="0"/>
                </a:moveTo>
                <a:lnTo>
                  <a:pt x="12700" y="0"/>
                </a:lnTo>
                <a:lnTo>
                  <a:pt x="18157" y="2624"/>
                </a:lnTo>
                <a:lnTo>
                  <a:pt x="20574" y="0"/>
                </a:lnTo>
                <a:close/>
              </a:path>
            </a:pathLst>
          </a:custGeom>
          <a:solidFill>
            <a:srgbClr val="F6AB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457325" y="2724150"/>
            <a:ext cx="398780" cy="167005"/>
          </a:xfrm>
          <a:custGeom>
            <a:avLst/>
            <a:gdLst/>
            <a:ahLst/>
            <a:cxnLst/>
            <a:rect l="l" t="t" r="r" b="b"/>
            <a:pathLst>
              <a:path w="398780" h="167005">
                <a:moveTo>
                  <a:pt x="0" y="60325"/>
                </a:moveTo>
                <a:lnTo>
                  <a:pt x="45974" y="98425"/>
                </a:lnTo>
                <a:lnTo>
                  <a:pt x="85725" y="136525"/>
                </a:lnTo>
                <a:lnTo>
                  <a:pt x="131699" y="158750"/>
                </a:lnTo>
                <a:lnTo>
                  <a:pt x="173100" y="166624"/>
                </a:lnTo>
                <a:lnTo>
                  <a:pt x="198500" y="158750"/>
                </a:lnTo>
                <a:lnTo>
                  <a:pt x="231775" y="150749"/>
                </a:lnTo>
                <a:lnTo>
                  <a:pt x="258825" y="136525"/>
                </a:lnTo>
                <a:lnTo>
                  <a:pt x="285750" y="120650"/>
                </a:lnTo>
                <a:lnTo>
                  <a:pt x="329569" y="82550"/>
                </a:lnTo>
                <a:lnTo>
                  <a:pt x="98425" y="82550"/>
                </a:lnTo>
                <a:lnTo>
                  <a:pt x="52324" y="76200"/>
                </a:lnTo>
                <a:lnTo>
                  <a:pt x="0" y="60325"/>
                </a:lnTo>
                <a:close/>
              </a:path>
              <a:path w="398780" h="167005">
                <a:moveTo>
                  <a:pt x="398525" y="0"/>
                </a:moveTo>
                <a:lnTo>
                  <a:pt x="304800" y="52324"/>
                </a:lnTo>
                <a:lnTo>
                  <a:pt x="206375" y="82550"/>
                </a:lnTo>
                <a:lnTo>
                  <a:pt x="329569" y="82550"/>
                </a:lnTo>
                <a:lnTo>
                  <a:pt x="346075" y="68199"/>
                </a:lnTo>
                <a:lnTo>
                  <a:pt x="398525" y="0"/>
                </a:lnTo>
                <a:close/>
              </a:path>
            </a:pathLst>
          </a:custGeom>
          <a:solidFill>
            <a:srgbClr val="F6AB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351025" y="1898650"/>
            <a:ext cx="298450" cy="544830"/>
          </a:xfrm>
          <a:custGeom>
            <a:avLst/>
            <a:gdLst/>
            <a:ahLst/>
            <a:cxnLst/>
            <a:rect l="l" t="t" r="r" b="b"/>
            <a:pathLst>
              <a:path w="298450" h="544830">
                <a:moveTo>
                  <a:pt x="238125" y="0"/>
                </a:moveTo>
                <a:lnTo>
                  <a:pt x="172974" y="22225"/>
                </a:lnTo>
                <a:lnTo>
                  <a:pt x="139700" y="45974"/>
                </a:lnTo>
                <a:lnTo>
                  <a:pt x="98425" y="90424"/>
                </a:lnTo>
                <a:lnTo>
                  <a:pt x="73025" y="144399"/>
                </a:lnTo>
                <a:lnTo>
                  <a:pt x="39624" y="204724"/>
                </a:lnTo>
                <a:lnTo>
                  <a:pt x="12700" y="273050"/>
                </a:lnTo>
                <a:lnTo>
                  <a:pt x="0" y="355600"/>
                </a:lnTo>
                <a:lnTo>
                  <a:pt x="0" y="431800"/>
                </a:lnTo>
                <a:lnTo>
                  <a:pt x="6350" y="469900"/>
                </a:lnTo>
                <a:lnTo>
                  <a:pt x="25400" y="508000"/>
                </a:lnTo>
                <a:lnTo>
                  <a:pt x="52324" y="538226"/>
                </a:lnTo>
                <a:lnTo>
                  <a:pt x="73025" y="544576"/>
                </a:lnTo>
                <a:lnTo>
                  <a:pt x="85725" y="538226"/>
                </a:lnTo>
                <a:lnTo>
                  <a:pt x="92075" y="522350"/>
                </a:lnTo>
                <a:lnTo>
                  <a:pt x="98425" y="477900"/>
                </a:lnTo>
                <a:lnTo>
                  <a:pt x="106299" y="439800"/>
                </a:lnTo>
                <a:lnTo>
                  <a:pt x="131699" y="333375"/>
                </a:lnTo>
                <a:lnTo>
                  <a:pt x="158750" y="265049"/>
                </a:lnTo>
                <a:lnTo>
                  <a:pt x="179324" y="212725"/>
                </a:lnTo>
                <a:lnTo>
                  <a:pt x="204724" y="182499"/>
                </a:lnTo>
                <a:lnTo>
                  <a:pt x="245999" y="144399"/>
                </a:lnTo>
                <a:lnTo>
                  <a:pt x="265049" y="120650"/>
                </a:lnTo>
                <a:lnTo>
                  <a:pt x="292100" y="84074"/>
                </a:lnTo>
                <a:lnTo>
                  <a:pt x="298450" y="60325"/>
                </a:lnTo>
                <a:lnTo>
                  <a:pt x="292100" y="38100"/>
                </a:lnTo>
                <a:lnTo>
                  <a:pt x="279400" y="15875"/>
                </a:lnTo>
                <a:lnTo>
                  <a:pt x="238125" y="0"/>
                </a:lnTo>
                <a:close/>
              </a:path>
            </a:pathLst>
          </a:custGeom>
          <a:solidFill>
            <a:srgbClr val="FFE6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351025" y="1997075"/>
            <a:ext cx="659130" cy="809625"/>
          </a:xfrm>
          <a:custGeom>
            <a:avLst/>
            <a:gdLst/>
            <a:ahLst/>
            <a:cxnLst/>
            <a:rect l="l" t="t" r="r" b="b"/>
            <a:pathLst>
              <a:path w="659130" h="809625">
                <a:moveTo>
                  <a:pt x="0" y="606425"/>
                </a:moveTo>
                <a:lnTo>
                  <a:pt x="31750" y="674624"/>
                </a:lnTo>
                <a:lnTo>
                  <a:pt x="65024" y="734949"/>
                </a:lnTo>
                <a:lnTo>
                  <a:pt x="106299" y="787400"/>
                </a:lnTo>
                <a:lnTo>
                  <a:pt x="158750" y="803275"/>
                </a:lnTo>
                <a:lnTo>
                  <a:pt x="204724" y="809625"/>
                </a:lnTo>
                <a:lnTo>
                  <a:pt x="312674" y="809625"/>
                </a:lnTo>
                <a:lnTo>
                  <a:pt x="411099" y="779399"/>
                </a:lnTo>
                <a:lnTo>
                  <a:pt x="504825" y="727075"/>
                </a:lnTo>
                <a:lnTo>
                  <a:pt x="536972" y="674624"/>
                </a:lnTo>
                <a:lnTo>
                  <a:pt x="85725" y="674624"/>
                </a:lnTo>
                <a:lnTo>
                  <a:pt x="39624" y="642874"/>
                </a:lnTo>
                <a:lnTo>
                  <a:pt x="0" y="606425"/>
                </a:lnTo>
                <a:close/>
              </a:path>
              <a:path w="659130" h="809625">
                <a:moveTo>
                  <a:pt x="577850" y="0"/>
                </a:moveTo>
                <a:lnTo>
                  <a:pt x="565150" y="120650"/>
                </a:lnTo>
                <a:lnTo>
                  <a:pt x="531749" y="242824"/>
                </a:lnTo>
                <a:lnTo>
                  <a:pt x="517525" y="303149"/>
                </a:lnTo>
                <a:lnTo>
                  <a:pt x="492125" y="355600"/>
                </a:lnTo>
                <a:lnTo>
                  <a:pt x="465074" y="409575"/>
                </a:lnTo>
                <a:lnTo>
                  <a:pt x="438150" y="461899"/>
                </a:lnTo>
                <a:lnTo>
                  <a:pt x="404749" y="508000"/>
                </a:lnTo>
                <a:lnTo>
                  <a:pt x="371475" y="544449"/>
                </a:lnTo>
                <a:lnTo>
                  <a:pt x="331724" y="582549"/>
                </a:lnTo>
                <a:lnTo>
                  <a:pt x="285750" y="612775"/>
                </a:lnTo>
                <a:lnTo>
                  <a:pt x="238125" y="636524"/>
                </a:lnTo>
                <a:lnTo>
                  <a:pt x="192024" y="658749"/>
                </a:lnTo>
                <a:lnTo>
                  <a:pt x="139700" y="674624"/>
                </a:lnTo>
                <a:lnTo>
                  <a:pt x="536972" y="674624"/>
                </a:lnTo>
                <a:lnTo>
                  <a:pt x="565150" y="628650"/>
                </a:lnTo>
                <a:lnTo>
                  <a:pt x="592074" y="576199"/>
                </a:lnTo>
                <a:lnTo>
                  <a:pt x="611124" y="522224"/>
                </a:lnTo>
                <a:lnTo>
                  <a:pt x="631825" y="461899"/>
                </a:lnTo>
                <a:lnTo>
                  <a:pt x="644525" y="401574"/>
                </a:lnTo>
                <a:lnTo>
                  <a:pt x="650875" y="347599"/>
                </a:lnTo>
                <a:lnTo>
                  <a:pt x="658749" y="287274"/>
                </a:lnTo>
                <a:lnTo>
                  <a:pt x="650875" y="204724"/>
                </a:lnTo>
                <a:lnTo>
                  <a:pt x="638175" y="128524"/>
                </a:lnTo>
                <a:lnTo>
                  <a:pt x="611124" y="60325"/>
                </a:lnTo>
                <a:lnTo>
                  <a:pt x="577850" y="0"/>
                </a:lnTo>
                <a:close/>
              </a:path>
            </a:pathLst>
          </a:custGeom>
          <a:solidFill>
            <a:srgbClr val="F9C2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082800" y="1619250"/>
            <a:ext cx="717550" cy="1127125"/>
          </a:xfrm>
          <a:custGeom>
            <a:avLst/>
            <a:gdLst/>
            <a:ahLst/>
            <a:cxnLst/>
            <a:rect l="l" t="t" r="r" b="b"/>
            <a:pathLst>
              <a:path w="717550" h="1127125">
                <a:moveTo>
                  <a:pt x="392049" y="0"/>
                </a:moveTo>
                <a:lnTo>
                  <a:pt x="298450" y="0"/>
                </a:lnTo>
                <a:lnTo>
                  <a:pt x="231775" y="22225"/>
                </a:lnTo>
                <a:lnTo>
                  <a:pt x="172974" y="60325"/>
                </a:lnTo>
                <a:lnTo>
                  <a:pt x="118999" y="104775"/>
                </a:lnTo>
                <a:lnTo>
                  <a:pt x="73025" y="172974"/>
                </a:lnTo>
                <a:lnTo>
                  <a:pt x="33274" y="249174"/>
                </a:lnTo>
                <a:lnTo>
                  <a:pt x="19050" y="295275"/>
                </a:lnTo>
                <a:lnTo>
                  <a:pt x="6350" y="339725"/>
                </a:lnTo>
                <a:lnTo>
                  <a:pt x="0" y="385699"/>
                </a:lnTo>
                <a:lnTo>
                  <a:pt x="0" y="522224"/>
                </a:lnTo>
                <a:lnTo>
                  <a:pt x="12700" y="604774"/>
                </a:lnTo>
                <a:lnTo>
                  <a:pt x="33274" y="680974"/>
                </a:lnTo>
                <a:lnTo>
                  <a:pt x="66675" y="757174"/>
                </a:lnTo>
                <a:lnTo>
                  <a:pt x="98425" y="823849"/>
                </a:lnTo>
                <a:lnTo>
                  <a:pt x="131699" y="885825"/>
                </a:lnTo>
                <a:lnTo>
                  <a:pt x="172974" y="938149"/>
                </a:lnTo>
                <a:lnTo>
                  <a:pt x="206375" y="976249"/>
                </a:lnTo>
                <a:lnTo>
                  <a:pt x="239649" y="1006475"/>
                </a:lnTo>
                <a:lnTo>
                  <a:pt x="271399" y="1020699"/>
                </a:lnTo>
                <a:lnTo>
                  <a:pt x="304800" y="1036574"/>
                </a:lnTo>
                <a:lnTo>
                  <a:pt x="325374" y="1044575"/>
                </a:lnTo>
                <a:lnTo>
                  <a:pt x="331724" y="1066800"/>
                </a:lnTo>
                <a:lnTo>
                  <a:pt x="338074" y="1074674"/>
                </a:lnTo>
                <a:lnTo>
                  <a:pt x="319024" y="1096899"/>
                </a:lnTo>
                <a:lnTo>
                  <a:pt x="358775" y="1127125"/>
                </a:lnTo>
                <a:lnTo>
                  <a:pt x="379349" y="1104900"/>
                </a:lnTo>
                <a:lnTo>
                  <a:pt x="371475" y="1082675"/>
                </a:lnTo>
                <a:lnTo>
                  <a:pt x="365125" y="1074674"/>
                </a:lnTo>
                <a:lnTo>
                  <a:pt x="365125" y="1066800"/>
                </a:lnTo>
                <a:lnTo>
                  <a:pt x="371475" y="1052449"/>
                </a:lnTo>
                <a:lnTo>
                  <a:pt x="412750" y="1028700"/>
                </a:lnTo>
                <a:lnTo>
                  <a:pt x="452374" y="1006475"/>
                </a:lnTo>
                <a:lnTo>
                  <a:pt x="531749" y="930275"/>
                </a:lnTo>
                <a:lnTo>
                  <a:pt x="571500" y="885825"/>
                </a:lnTo>
                <a:lnTo>
                  <a:pt x="631825" y="787400"/>
                </a:lnTo>
                <a:lnTo>
                  <a:pt x="650875" y="733425"/>
                </a:lnTo>
                <a:lnTo>
                  <a:pt x="677799" y="673100"/>
                </a:lnTo>
                <a:lnTo>
                  <a:pt x="692150" y="620649"/>
                </a:lnTo>
                <a:lnTo>
                  <a:pt x="704850" y="560324"/>
                </a:lnTo>
                <a:lnTo>
                  <a:pt x="717550" y="498475"/>
                </a:lnTo>
                <a:lnTo>
                  <a:pt x="717550" y="355600"/>
                </a:lnTo>
                <a:lnTo>
                  <a:pt x="698500" y="279400"/>
                </a:lnTo>
                <a:lnTo>
                  <a:pt x="671449" y="211074"/>
                </a:lnTo>
                <a:lnTo>
                  <a:pt x="638175" y="158750"/>
                </a:lnTo>
                <a:lnTo>
                  <a:pt x="611124" y="120650"/>
                </a:lnTo>
                <a:lnTo>
                  <a:pt x="544449" y="60325"/>
                </a:lnTo>
                <a:lnTo>
                  <a:pt x="504825" y="38100"/>
                </a:lnTo>
                <a:lnTo>
                  <a:pt x="431800" y="6350"/>
                </a:lnTo>
                <a:lnTo>
                  <a:pt x="392049" y="0"/>
                </a:lnTo>
                <a:close/>
              </a:path>
            </a:pathLst>
          </a:custGeom>
          <a:solidFill>
            <a:srgbClr val="00B9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082800" y="1619250"/>
            <a:ext cx="638175" cy="831850"/>
          </a:xfrm>
          <a:custGeom>
            <a:avLst/>
            <a:gdLst/>
            <a:ahLst/>
            <a:cxnLst/>
            <a:rect l="l" t="t" r="r" b="b"/>
            <a:pathLst>
              <a:path w="638175" h="831850">
                <a:moveTo>
                  <a:pt x="392049" y="0"/>
                </a:moveTo>
                <a:lnTo>
                  <a:pt x="298450" y="0"/>
                </a:lnTo>
                <a:lnTo>
                  <a:pt x="231775" y="22225"/>
                </a:lnTo>
                <a:lnTo>
                  <a:pt x="172974" y="60325"/>
                </a:lnTo>
                <a:lnTo>
                  <a:pt x="118999" y="104775"/>
                </a:lnTo>
                <a:lnTo>
                  <a:pt x="73025" y="172974"/>
                </a:lnTo>
                <a:lnTo>
                  <a:pt x="33274" y="249174"/>
                </a:lnTo>
                <a:lnTo>
                  <a:pt x="19050" y="295275"/>
                </a:lnTo>
                <a:lnTo>
                  <a:pt x="6350" y="339725"/>
                </a:lnTo>
                <a:lnTo>
                  <a:pt x="0" y="385699"/>
                </a:lnTo>
                <a:lnTo>
                  <a:pt x="0" y="522224"/>
                </a:lnTo>
                <a:lnTo>
                  <a:pt x="12700" y="604774"/>
                </a:lnTo>
                <a:lnTo>
                  <a:pt x="33274" y="680974"/>
                </a:lnTo>
                <a:lnTo>
                  <a:pt x="66675" y="757174"/>
                </a:lnTo>
                <a:lnTo>
                  <a:pt x="106299" y="793750"/>
                </a:lnTo>
                <a:lnTo>
                  <a:pt x="146050" y="831850"/>
                </a:lnTo>
                <a:lnTo>
                  <a:pt x="198374" y="823849"/>
                </a:lnTo>
                <a:lnTo>
                  <a:pt x="252349" y="817499"/>
                </a:lnTo>
                <a:lnTo>
                  <a:pt x="304800" y="793750"/>
                </a:lnTo>
                <a:lnTo>
                  <a:pt x="352425" y="771525"/>
                </a:lnTo>
                <a:lnTo>
                  <a:pt x="392049" y="741299"/>
                </a:lnTo>
                <a:lnTo>
                  <a:pt x="431800" y="703199"/>
                </a:lnTo>
                <a:lnTo>
                  <a:pt x="465074" y="658749"/>
                </a:lnTo>
                <a:lnTo>
                  <a:pt x="531749" y="566674"/>
                </a:lnTo>
                <a:lnTo>
                  <a:pt x="558800" y="514350"/>
                </a:lnTo>
                <a:lnTo>
                  <a:pt x="577850" y="454025"/>
                </a:lnTo>
                <a:lnTo>
                  <a:pt x="598424" y="400050"/>
                </a:lnTo>
                <a:lnTo>
                  <a:pt x="625475" y="279400"/>
                </a:lnTo>
                <a:lnTo>
                  <a:pt x="638175" y="158750"/>
                </a:lnTo>
                <a:lnTo>
                  <a:pt x="611124" y="120650"/>
                </a:lnTo>
                <a:lnTo>
                  <a:pt x="544449" y="60325"/>
                </a:lnTo>
                <a:lnTo>
                  <a:pt x="504825" y="38100"/>
                </a:lnTo>
                <a:lnTo>
                  <a:pt x="471424" y="22225"/>
                </a:lnTo>
                <a:lnTo>
                  <a:pt x="431800" y="6350"/>
                </a:lnTo>
                <a:lnTo>
                  <a:pt x="392049" y="0"/>
                </a:lnTo>
                <a:close/>
              </a:path>
            </a:pathLst>
          </a:custGeom>
          <a:solidFill>
            <a:srgbClr val="4EC6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414651" y="2686050"/>
            <a:ext cx="40005" cy="15875"/>
          </a:xfrm>
          <a:custGeom>
            <a:avLst/>
            <a:gdLst/>
            <a:ahLst/>
            <a:cxnLst/>
            <a:rect l="l" t="t" r="r" b="b"/>
            <a:pathLst>
              <a:path w="40005" h="15875">
                <a:moveTo>
                  <a:pt x="33274" y="0"/>
                </a:moveTo>
                <a:lnTo>
                  <a:pt x="0" y="0"/>
                </a:lnTo>
                <a:lnTo>
                  <a:pt x="6350" y="7874"/>
                </a:lnTo>
                <a:lnTo>
                  <a:pt x="39624" y="15875"/>
                </a:lnTo>
                <a:lnTo>
                  <a:pt x="33274" y="7874"/>
                </a:lnTo>
                <a:lnTo>
                  <a:pt x="33274" y="0"/>
                </a:lnTo>
                <a:close/>
              </a:path>
            </a:pathLst>
          </a:custGeom>
          <a:solidFill>
            <a:srgbClr val="00A6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381250" y="2633726"/>
            <a:ext cx="133350" cy="52705"/>
          </a:xfrm>
          <a:custGeom>
            <a:avLst/>
            <a:gdLst/>
            <a:ahLst/>
            <a:cxnLst/>
            <a:rect l="l" t="t" r="r" b="b"/>
            <a:pathLst>
              <a:path w="133350" h="52705">
                <a:moveTo>
                  <a:pt x="133350" y="0"/>
                </a:moveTo>
                <a:lnTo>
                  <a:pt x="99949" y="14224"/>
                </a:lnTo>
                <a:lnTo>
                  <a:pt x="33274" y="30099"/>
                </a:lnTo>
                <a:lnTo>
                  <a:pt x="26924" y="30099"/>
                </a:lnTo>
                <a:lnTo>
                  <a:pt x="33274" y="52324"/>
                </a:lnTo>
                <a:lnTo>
                  <a:pt x="66675" y="52324"/>
                </a:lnTo>
                <a:lnTo>
                  <a:pt x="73025" y="38100"/>
                </a:lnTo>
                <a:lnTo>
                  <a:pt x="89795" y="30099"/>
                </a:lnTo>
                <a:lnTo>
                  <a:pt x="33274" y="30099"/>
                </a:lnTo>
                <a:lnTo>
                  <a:pt x="0" y="22225"/>
                </a:lnTo>
                <a:lnTo>
                  <a:pt x="106299" y="22225"/>
                </a:lnTo>
                <a:lnTo>
                  <a:pt x="133350" y="0"/>
                </a:lnTo>
                <a:close/>
              </a:path>
            </a:pathLst>
          </a:custGeom>
          <a:solidFill>
            <a:srgbClr val="4EC6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401951" y="2694051"/>
            <a:ext cx="60325" cy="52705"/>
          </a:xfrm>
          <a:custGeom>
            <a:avLst/>
            <a:gdLst/>
            <a:ahLst/>
            <a:cxnLst/>
            <a:rect l="l" t="t" r="r" b="b"/>
            <a:pathLst>
              <a:path w="60325" h="52705">
                <a:moveTo>
                  <a:pt x="19050" y="0"/>
                </a:moveTo>
                <a:lnTo>
                  <a:pt x="0" y="22225"/>
                </a:lnTo>
                <a:lnTo>
                  <a:pt x="39624" y="52324"/>
                </a:lnTo>
                <a:lnTo>
                  <a:pt x="60325" y="30099"/>
                </a:lnTo>
                <a:lnTo>
                  <a:pt x="52324" y="7874"/>
                </a:lnTo>
                <a:lnTo>
                  <a:pt x="19050" y="0"/>
                </a:lnTo>
                <a:close/>
              </a:path>
            </a:pathLst>
          </a:custGeom>
          <a:solidFill>
            <a:srgbClr val="4EC6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255901" y="2505075"/>
            <a:ext cx="398780" cy="158750"/>
          </a:xfrm>
          <a:custGeom>
            <a:avLst/>
            <a:gdLst/>
            <a:ahLst/>
            <a:cxnLst/>
            <a:rect l="l" t="t" r="r" b="b"/>
            <a:pathLst>
              <a:path w="398780" h="158750">
                <a:moveTo>
                  <a:pt x="0" y="52324"/>
                </a:moveTo>
                <a:lnTo>
                  <a:pt x="39624" y="98425"/>
                </a:lnTo>
                <a:lnTo>
                  <a:pt x="85725" y="128524"/>
                </a:lnTo>
                <a:lnTo>
                  <a:pt x="125349" y="150749"/>
                </a:lnTo>
                <a:lnTo>
                  <a:pt x="172974" y="158750"/>
                </a:lnTo>
                <a:lnTo>
                  <a:pt x="198374" y="158750"/>
                </a:lnTo>
                <a:lnTo>
                  <a:pt x="225425" y="150749"/>
                </a:lnTo>
                <a:lnTo>
                  <a:pt x="258699" y="134874"/>
                </a:lnTo>
                <a:lnTo>
                  <a:pt x="285750" y="112649"/>
                </a:lnTo>
                <a:lnTo>
                  <a:pt x="326598" y="82550"/>
                </a:lnTo>
                <a:lnTo>
                  <a:pt x="98425" y="82550"/>
                </a:lnTo>
                <a:lnTo>
                  <a:pt x="45974" y="74549"/>
                </a:lnTo>
                <a:lnTo>
                  <a:pt x="0" y="52324"/>
                </a:lnTo>
                <a:close/>
              </a:path>
              <a:path w="398780" h="158750">
                <a:moveTo>
                  <a:pt x="398399" y="0"/>
                </a:moveTo>
                <a:lnTo>
                  <a:pt x="298450" y="44450"/>
                </a:lnTo>
                <a:lnTo>
                  <a:pt x="252349" y="68199"/>
                </a:lnTo>
                <a:lnTo>
                  <a:pt x="198374" y="74549"/>
                </a:lnTo>
                <a:lnTo>
                  <a:pt x="146050" y="82550"/>
                </a:lnTo>
                <a:lnTo>
                  <a:pt x="326598" y="82550"/>
                </a:lnTo>
                <a:lnTo>
                  <a:pt x="346075" y="68199"/>
                </a:lnTo>
                <a:lnTo>
                  <a:pt x="398399" y="0"/>
                </a:lnTo>
                <a:close/>
              </a:path>
            </a:pathLst>
          </a:custGeom>
          <a:solidFill>
            <a:srgbClr val="00A6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141601" y="1679575"/>
            <a:ext cx="300355" cy="536575"/>
          </a:xfrm>
          <a:custGeom>
            <a:avLst/>
            <a:gdLst/>
            <a:ahLst/>
            <a:cxnLst/>
            <a:rect l="l" t="t" r="r" b="b"/>
            <a:pathLst>
              <a:path w="300355" h="536575">
                <a:moveTo>
                  <a:pt x="239649" y="0"/>
                </a:moveTo>
                <a:lnTo>
                  <a:pt x="180975" y="14224"/>
                </a:lnTo>
                <a:lnTo>
                  <a:pt x="139700" y="44450"/>
                </a:lnTo>
                <a:lnTo>
                  <a:pt x="73025" y="136525"/>
                </a:lnTo>
                <a:lnTo>
                  <a:pt x="39624" y="204724"/>
                </a:lnTo>
                <a:lnTo>
                  <a:pt x="14224" y="271399"/>
                </a:lnTo>
                <a:lnTo>
                  <a:pt x="0" y="347599"/>
                </a:lnTo>
                <a:lnTo>
                  <a:pt x="0" y="431800"/>
                </a:lnTo>
                <a:lnTo>
                  <a:pt x="14224" y="468249"/>
                </a:lnTo>
                <a:lnTo>
                  <a:pt x="26924" y="506349"/>
                </a:lnTo>
                <a:lnTo>
                  <a:pt x="53975" y="530225"/>
                </a:lnTo>
                <a:lnTo>
                  <a:pt x="80899" y="536575"/>
                </a:lnTo>
                <a:lnTo>
                  <a:pt x="93599" y="530225"/>
                </a:lnTo>
                <a:lnTo>
                  <a:pt x="99949" y="514350"/>
                </a:lnTo>
                <a:lnTo>
                  <a:pt x="106299" y="468249"/>
                </a:lnTo>
                <a:lnTo>
                  <a:pt x="106299" y="438150"/>
                </a:lnTo>
                <a:lnTo>
                  <a:pt x="133350" y="333375"/>
                </a:lnTo>
                <a:lnTo>
                  <a:pt x="160274" y="257175"/>
                </a:lnTo>
                <a:lnTo>
                  <a:pt x="187325" y="211074"/>
                </a:lnTo>
                <a:lnTo>
                  <a:pt x="206375" y="180975"/>
                </a:lnTo>
                <a:lnTo>
                  <a:pt x="254000" y="142875"/>
                </a:lnTo>
                <a:lnTo>
                  <a:pt x="273050" y="120650"/>
                </a:lnTo>
                <a:lnTo>
                  <a:pt x="293624" y="82550"/>
                </a:lnTo>
                <a:lnTo>
                  <a:pt x="299974" y="52324"/>
                </a:lnTo>
                <a:lnTo>
                  <a:pt x="299974" y="30099"/>
                </a:lnTo>
                <a:lnTo>
                  <a:pt x="287274" y="14224"/>
                </a:lnTo>
                <a:lnTo>
                  <a:pt x="266700" y="7874"/>
                </a:lnTo>
                <a:lnTo>
                  <a:pt x="239649" y="0"/>
                </a:lnTo>
                <a:close/>
              </a:path>
            </a:pathLst>
          </a:custGeom>
          <a:solidFill>
            <a:srgbClr val="97D9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8812" y="1800225"/>
            <a:ext cx="358775" cy="454025"/>
          </a:xfrm>
          <a:custGeom>
            <a:avLst/>
            <a:gdLst/>
            <a:ahLst/>
            <a:cxnLst/>
            <a:rect l="l" t="t" r="r" b="b"/>
            <a:pathLst>
              <a:path w="358775" h="454025">
                <a:moveTo>
                  <a:pt x="0" y="303149"/>
                </a:moveTo>
                <a:lnTo>
                  <a:pt x="0" y="317500"/>
                </a:lnTo>
                <a:lnTo>
                  <a:pt x="6350" y="347599"/>
                </a:lnTo>
                <a:lnTo>
                  <a:pt x="25400" y="393700"/>
                </a:lnTo>
                <a:lnTo>
                  <a:pt x="73025" y="431800"/>
                </a:lnTo>
                <a:lnTo>
                  <a:pt x="146050" y="454025"/>
                </a:lnTo>
                <a:lnTo>
                  <a:pt x="225425" y="454025"/>
                </a:lnTo>
                <a:lnTo>
                  <a:pt x="292100" y="431800"/>
                </a:lnTo>
                <a:lnTo>
                  <a:pt x="331787" y="393700"/>
                </a:lnTo>
                <a:lnTo>
                  <a:pt x="346075" y="363474"/>
                </a:lnTo>
                <a:lnTo>
                  <a:pt x="231775" y="363474"/>
                </a:lnTo>
                <a:lnTo>
                  <a:pt x="119062" y="355600"/>
                </a:lnTo>
                <a:lnTo>
                  <a:pt x="119062" y="311150"/>
                </a:lnTo>
                <a:lnTo>
                  <a:pt x="0" y="303149"/>
                </a:lnTo>
                <a:close/>
              </a:path>
              <a:path w="358775" h="454025">
                <a:moveTo>
                  <a:pt x="219075" y="0"/>
                </a:moveTo>
                <a:lnTo>
                  <a:pt x="185737" y="0"/>
                </a:lnTo>
                <a:lnTo>
                  <a:pt x="98425" y="7874"/>
                </a:lnTo>
                <a:lnTo>
                  <a:pt x="46037" y="30099"/>
                </a:lnTo>
                <a:lnTo>
                  <a:pt x="12700" y="68199"/>
                </a:lnTo>
                <a:lnTo>
                  <a:pt x="0" y="136525"/>
                </a:lnTo>
                <a:lnTo>
                  <a:pt x="6350" y="174625"/>
                </a:lnTo>
                <a:lnTo>
                  <a:pt x="33337" y="234950"/>
                </a:lnTo>
                <a:lnTo>
                  <a:pt x="92075" y="265049"/>
                </a:lnTo>
                <a:lnTo>
                  <a:pt x="139700" y="273050"/>
                </a:lnTo>
                <a:lnTo>
                  <a:pt x="231775" y="280924"/>
                </a:lnTo>
                <a:lnTo>
                  <a:pt x="231775" y="363474"/>
                </a:lnTo>
                <a:lnTo>
                  <a:pt x="346075" y="363474"/>
                </a:lnTo>
                <a:lnTo>
                  <a:pt x="352425" y="333375"/>
                </a:lnTo>
                <a:lnTo>
                  <a:pt x="358775" y="303149"/>
                </a:lnTo>
                <a:lnTo>
                  <a:pt x="352425" y="265049"/>
                </a:lnTo>
                <a:lnTo>
                  <a:pt x="325437" y="212725"/>
                </a:lnTo>
                <a:lnTo>
                  <a:pt x="265112" y="174625"/>
                </a:lnTo>
                <a:lnTo>
                  <a:pt x="225425" y="166624"/>
                </a:lnTo>
                <a:lnTo>
                  <a:pt x="179387" y="158750"/>
                </a:lnTo>
                <a:lnTo>
                  <a:pt x="112712" y="158750"/>
                </a:lnTo>
                <a:lnTo>
                  <a:pt x="112712" y="84074"/>
                </a:lnTo>
                <a:lnTo>
                  <a:pt x="329973" y="84074"/>
                </a:lnTo>
                <a:lnTo>
                  <a:pt x="325437" y="68199"/>
                </a:lnTo>
                <a:lnTo>
                  <a:pt x="312737" y="53975"/>
                </a:lnTo>
                <a:lnTo>
                  <a:pt x="298450" y="30099"/>
                </a:lnTo>
                <a:lnTo>
                  <a:pt x="271462" y="15875"/>
                </a:lnTo>
                <a:lnTo>
                  <a:pt x="252412" y="7874"/>
                </a:lnTo>
                <a:lnTo>
                  <a:pt x="219075" y="0"/>
                </a:lnTo>
                <a:close/>
              </a:path>
              <a:path w="358775" h="454025">
                <a:moveTo>
                  <a:pt x="329973" y="84074"/>
                </a:moveTo>
                <a:lnTo>
                  <a:pt x="152400" y="84074"/>
                </a:lnTo>
                <a:lnTo>
                  <a:pt x="219075" y="90424"/>
                </a:lnTo>
                <a:lnTo>
                  <a:pt x="219075" y="136525"/>
                </a:lnTo>
                <a:lnTo>
                  <a:pt x="331787" y="136525"/>
                </a:lnTo>
                <a:lnTo>
                  <a:pt x="331787" y="90424"/>
                </a:lnTo>
                <a:lnTo>
                  <a:pt x="329973" y="84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457325" y="2073275"/>
            <a:ext cx="352425" cy="431800"/>
          </a:xfrm>
          <a:custGeom>
            <a:avLst/>
            <a:gdLst/>
            <a:ahLst/>
            <a:cxnLst/>
            <a:rect l="l" t="t" r="r" b="b"/>
            <a:pathLst>
              <a:path w="352425" h="431800">
                <a:moveTo>
                  <a:pt x="118999" y="0"/>
                </a:moveTo>
                <a:lnTo>
                  <a:pt x="58674" y="234950"/>
                </a:lnTo>
                <a:lnTo>
                  <a:pt x="0" y="431800"/>
                </a:lnTo>
                <a:lnTo>
                  <a:pt x="98425" y="431800"/>
                </a:lnTo>
                <a:lnTo>
                  <a:pt x="118999" y="333375"/>
                </a:lnTo>
                <a:lnTo>
                  <a:pt x="327715" y="333375"/>
                </a:lnTo>
                <a:lnTo>
                  <a:pt x="306577" y="249174"/>
                </a:lnTo>
                <a:lnTo>
                  <a:pt x="131699" y="249174"/>
                </a:lnTo>
                <a:lnTo>
                  <a:pt x="165100" y="82550"/>
                </a:lnTo>
                <a:lnTo>
                  <a:pt x="264746" y="82550"/>
                </a:lnTo>
                <a:lnTo>
                  <a:pt x="245999" y="7874"/>
                </a:lnTo>
                <a:lnTo>
                  <a:pt x="118999" y="0"/>
                </a:lnTo>
                <a:close/>
              </a:path>
              <a:path w="352425" h="431800">
                <a:moveTo>
                  <a:pt x="327715" y="333375"/>
                </a:moveTo>
                <a:lnTo>
                  <a:pt x="118999" y="333375"/>
                </a:lnTo>
                <a:lnTo>
                  <a:pt x="198374" y="339725"/>
                </a:lnTo>
                <a:lnTo>
                  <a:pt x="225425" y="431800"/>
                </a:lnTo>
                <a:lnTo>
                  <a:pt x="352425" y="431800"/>
                </a:lnTo>
                <a:lnTo>
                  <a:pt x="327715" y="333375"/>
                </a:lnTo>
                <a:close/>
              </a:path>
              <a:path w="352425" h="431800">
                <a:moveTo>
                  <a:pt x="264746" y="82550"/>
                </a:moveTo>
                <a:lnTo>
                  <a:pt x="165100" y="82550"/>
                </a:lnTo>
                <a:lnTo>
                  <a:pt x="179324" y="158750"/>
                </a:lnTo>
                <a:lnTo>
                  <a:pt x="206375" y="249174"/>
                </a:lnTo>
                <a:lnTo>
                  <a:pt x="306577" y="249174"/>
                </a:lnTo>
                <a:lnTo>
                  <a:pt x="264746" y="82550"/>
                </a:lnTo>
                <a:close/>
              </a:path>
            </a:pathLst>
          </a:custGeom>
          <a:solidFill>
            <a:srgbClr val="00AA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322576" y="1898650"/>
            <a:ext cx="265430" cy="431800"/>
          </a:xfrm>
          <a:custGeom>
            <a:avLst/>
            <a:gdLst/>
            <a:ahLst/>
            <a:cxnLst/>
            <a:rect l="l" t="t" r="r" b="b"/>
            <a:pathLst>
              <a:path w="265430" h="431800">
                <a:moveTo>
                  <a:pt x="118999" y="0"/>
                </a:moveTo>
                <a:lnTo>
                  <a:pt x="6350" y="0"/>
                </a:lnTo>
                <a:lnTo>
                  <a:pt x="6350" y="204724"/>
                </a:lnTo>
                <a:lnTo>
                  <a:pt x="0" y="423799"/>
                </a:lnTo>
                <a:lnTo>
                  <a:pt x="139700" y="431800"/>
                </a:lnTo>
                <a:lnTo>
                  <a:pt x="265049" y="431800"/>
                </a:lnTo>
                <a:lnTo>
                  <a:pt x="265049" y="325374"/>
                </a:lnTo>
                <a:lnTo>
                  <a:pt x="118999" y="325374"/>
                </a:lnTo>
                <a:lnTo>
                  <a:pt x="118999" y="0"/>
                </a:lnTo>
                <a:close/>
              </a:path>
            </a:pathLst>
          </a:custGeom>
          <a:solidFill>
            <a:srgbClr val="D5374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160776" y="1876425"/>
            <a:ext cx="325755" cy="431800"/>
          </a:xfrm>
          <a:custGeom>
            <a:avLst/>
            <a:gdLst/>
            <a:ahLst/>
            <a:cxnLst/>
            <a:rect l="l" t="t" r="r" b="b"/>
            <a:pathLst>
              <a:path w="325754" h="431800">
                <a:moveTo>
                  <a:pt x="312674" y="0"/>
                </a:moveTo>
                <a:lnTo>
                  <a:pt x="212725" y="0"/>
                </a:lnTo>
                <a:lnTo>
                  <a:pt x="0" y="14224"/>
                </a:lnTo>
                <a:lnTo>
                  <a:pt x="12700" y="188849"/>
                </a:lnTo>
                <a:lnTo>
                  <a:pt x="0" y="431800"/>
                </a:lnTo>
                <a:lnTo>
                  <a:pt x="112649" y="423799"/>
                </a:lnTo>
                <a:lnTo>
                  <a:pt x="324929" y="423799"/>
                </a:lnTo>
                <a:lnTo>
                  <a:pt x="319461" y="325374"/>
                </a:lnTo>
                <a:lnTo>
                  <a:pt x="92075" y="325374"/>
                </a:lnTo>
                <a:lnTo>
                  <a:pt x="92075" y="257175"/>
                </a:lnTo>
                <a:lnTo>
                  <a:pt x="165100" y="249174"/>
                </a:lnTo>
                <a:lnTo>
                  <a:pt x="273611" y="249174"/>
                </a:lnTo>
                <a:lnTo>
                  <a:pt x="279400" y="166624"/>
                </a:lnTo>
                <a:lnTo>
                  <a:pt x="133350" y="166624"/>
                </a:lnTo>
                <a:lnTo>
                  <a:pt x="133350" y="82550"/>
                </a:lnTo>
                <a:lnTo>
                  <a:pt x="219075" y="82550"/>
                </a:lnTo>
                <a:lnTo>
                  <a:pt x="312674" y="74549"/>
                </a:lnTo>
                <a:lnTo>
                  <a:pt x="312674" y="0"/>
                </a:lnTo>
                <a:close/>
              </a:path>
              <a:path w="325754" h="431800">
                <a:moveTo>
                  <a:pt x="324929" y="423799"/>
                </a:moveTo>
                <a:lnTo>
                  <a:pt x="112649" y="423799"/>
                </a:lnTo>
                <a:lnTo>
                  <a:pt x="225425" y="431800"/>
                </a:lnTo>
                <a:lnTo>
                  <a:pt x="325374" y="431800"/>
                </a:lnTo>
                <a:lnTo>
                  <a:pt x="324929" y="423799"/>
                </a:lnTo>
                <a:close/>
              </a:path>
              <a:path w="325754" h="431800">
                <a:moveTo>
                  <a:pt x="319024" y="317500"/>
                </a:moveTo>
                <a:lnTo>
                  <a:pt x="106299" y="325374"/>
                </a:lnTo>
                <a:lnTo>
                  <a:pt x="319461" y="325374"/>
                </a:lnTo>
                <a:lnTo>
                  <a:pt x="319024" y="317500"/>
                </a:lnTo>
                <a:close/>
              </a:path>
              <a:path w="325754" h="431800">
                <a:moveTo>
                  <a:pt x="273611" y="249174"/>
                </a:moveTo>
                <a:lnTo>
                  <a:pt x="165100" y="249174"/>
                </a:lnTo>
                <a:lnTo>
                  <a:pt x="273050" y="257175"/>
                </a:lnTo>
                <a:lnTo>
                  <a:pt x="273611" y="249174"/>
                </a:lnTo>
                <a:close/>
              </a:path>
            </a:pathLst>
          </a:custGeom>
          <a:solidFill>
            <a:srgbClr val="F9C2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790950" y="1524000"/>
            <a:ext cx="704850" cy="923925"/>
          </a:xfrm>
          <a:custGeom>
            <a:avLst/>
            <a:gdLst/>
            <a:ahLst/>
            <a:cxnLst/>
            <a:rect l="l" t="t" r="r" b="b"/>
            <a:pathLst>
              <a:path w="704850" h="923925">
                <a:moveTo>
                  <a:pt x="438150" y="0"/>
                </a:moveTo>
                <a:lnTo>
                  <a:pt x="398399" y="0"/>
                </a:lnTo>
                <a:lnTo>
                  <a:pt x="331724" y="7874"/>
                </a:lnTo>
                <a:lnTo>
                  <a:pt x="258699" y="30099"/>
                </a:lnTo>
                <a:lnTo>
                  <a:pt x="192024" y="68199"/>
                </a:lnTo>
                <a:lnTo>
                  <a:pt x="133350" y="122174"/>
                </a:lnTo>
                <a:lnTo>
                  <a:pt x="106299" y="160274"/>
                </a:lnTo>
                <a:lnTo>
                  <a:pt x="79375" y="196850"/>
                </a:lnTo>
                <a:lnTo>
                  <a:pt x="52324" y="234950"/>
                </a:lnTo>
                <a:lnTo>
                  <a:pt x="33274" y="280924"/>
                </a:lnTo>
                <a:lnTo>
                  <a:pt x="19050" y="325374"/>
                </a:lnTo>
                <a:lnTo>
                  <a:pt x="6350" y="379349"/>
                </a:lnTo>
                <a:lnTo>
                  <a:pt x="0" y="431800"/>
                </a:lnTo>
                <a:lnTo>
                  <a:pt x="0" y="584200"/>
                </a:lnTo>
                <a:lnTo>
                  <a:pt x="12700" y="674624"/>
                </a:lnTo>
                <a:lnTo>
                  <a:pt x="39624" y="757174"/>
                </a:lnTo>
                <a:lnTo>
                  <a:pt x="66675" y="847725"/>
                </a:lnTo>
                <a:lnTo>
                  <a:pt x="158750" y="923925"/>
                </a:lnTo>
                <a:lnTo>
                  <a:pt x="279400" y="909574"/>
                </a:lnTo>
                <a:lnTo>
                  <a:pt x="339725" y="885825"/>
                </a:lnTo>
                <a:lnTo>
                  <a:pt x="431800" y="825500"/>
                </a:lnTo>
                <a:lnTo>
                  <a:pt x="479425" y="781050"/>
                </a:lnTo>
                <a:lnTo>
                  <a:pt x="519049" y="734949"/>
                </a:lnTo>
                <a:lnTo>
                  <a:pt x="552450" y="682625"/>
                </a:lnTo>
                <a:lnTo>
                  <a:pt x="585724" y="628650"/>
                </a:lnTo>
                <a:lnTo>
                  <a:pt x="619125" y="568325"/>
                </a:lnTo>
                <a:lnTo>
                  <a:pt x="638175" y="508000"/>
                </a:lnTo>
                <a:lnTo>
                  <a:pt x="665099" y="447675"/>
                </a:lnTo>
                <a:lnTo>
                  <a:pt x="677799" y="379349"/>
                </a:lnTo>
                <a:lnTo>
                  <a:pt x="692150" y="311150"/>
                </a:lnTo>
                <a:lnTo>
                  <a:pt x="704850" y="174625"/>
                </a:lnTo>
                <a:lnTo>
                  <a:pt x="677799" y="136525"/>
                </a:lnTo>
                <a:lnTo>
                  <a:pt x="638175" y="98425"/>
                </a:lnTo>
                <a:lnTo>
                  <a:pt x="598424" y="68199"/>
                </a:lnTo>
                <a:lnTo>
                  <a:pt x="519049" y="23749"/>
                </a:lnTo>
                <a:lnTo>
                  <a:pt x="479425" y="7874"/>
                </a:lnTo>
                <a:lnTo>
                  <a:pt x="438150" y="0"/>
                </a:lnTo>
                <a:close/>
              </a:path>
            </a:pathLst>
          </a:custGeom>
          <a:solidFill>
            <a:srgbClr val="CC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840226" y="1689100"/>
            <a:ext cx="732155" cy="901700"/>
          </a:xfrm>
          <a:custGeom>
            <a:avLst/>
            <a:gdLst/>
            <a:ahLst/>
            <a:cxnLst/>
            <a:rect l="l" t="t" r="r" b="b"/>
            <a:pathLst>
              <a:path w="732154" h="901700">
                <a:moveTo>
                  <a:pt x="0" y="673100"/>
                </a:moveTo>
                <a:lnTo>
                  <a:pt x="39624" y="749300"/>
                </a:lnTo>
                <a:lnTo>
                  <a:pt x="118999" y="869950"/>
                </a:lnTo>
                <a:lnTo>
                  <a:pt x="179324" y="893699"/>
                </a:lnTo>
                <a:lnTo>
                  <a:pt x="231775" y="901700"/>
                </a:lnTo>
                <a:lnTo>
                  <a:pt x="346075" y="901700"/>
                </a:lnTo>
                <a:lnTo>
                  <a:pt x="404749" y="885825"/>
                </a:lnTo>
                <a:lnTo>
                  <a:pt x="458724" y="863600"/>
                </a:lnTo>
                <a:lnTo>
                  <a:pt x="512699" y="839724"/>
                </a:lnTo>
                <a:lnTo>
                  <a:pt x="565023" y="809625"/>
                </a:lnTo>
                <a:lnTo>
                  <a:pt x="603431" y="749300"/>
                </a:lnTo>
                <a:lnTo>
                  <a:pt x="92075" y="749300"/>
                </a:lnTo>
                <a:lnTo>
                  <a:pt x="0" y="673100"/>
                </a:lnTo>
                <a:close/>
              </a:path>
              <a:path w="732154" h="901700">
                <a:moveTo>
                  <a:pt x="638048" y="0"/>
                </a:moveTo>
                <a:lnTo>
                  <a:pt x="625348" y="136525"/>
                </a:lnTo>
                <a:lnTo>
                  <a:pt x="611124" y="204724"/>
                </a:lnTo>
                <a:lnTo>
                  <a:pt x="598424" y="273050"/>
                </a:lnTo>
                <a:lnTo>
                  <a:pt x="571373" y="333375"/>
                </a:lnTo>
                <a:lnTo>
                  <a:pt x="552323" y="393700"/>
                </a:lnTo>
                <a:lnTo>
                  <a:pt x="519049" y="454025"/>
                </a:lnTo>
                <a:lnTo>
                  <a:pt x="485648" y="508000"/>
                </a:lnTo>
                <a:lnTo>
                  <a:pt x="452374" y="560324"/>
                </a:lnTo>
                <a:lnTo>
                  <a:pt x="412623" y="606425"/>
                </a:lnTo>
                <a:lnTo>
                  <a:pt x="365125" y="650875"/>
                </a:lnTo>
                <a:lnTo>
                  <a:pt x="273050" y="711200"/>
                </a:lnTo>
                <a:lnTo>
                  <a:pt x="212725" y="734949"/>
                </a:lnTo>
                <a:lnTo>
                  <a:pt x="92075" y="749300"/>
                </a:lnTo>
                <a:lnTo>
                  <a:pt x="603431" y="749300"/>
                </a:lnTo>
                <a:lnTo>
                  <a:pt x="631698" y="704850"/>
                </a:lnTo>
                <a:lnTo>
                  <a:pt x="658749" y="642874"/>
                </a:lnTo>
                <a:lnTo>
                  <a:pt x="684149" y="582549"/>
                </a:lnTo>
                <a:lnTo>
                  <a:pt x="704723" y="514350"/>
                </a:lnTo>
                <a:lnTo>
                  <a:pt x="717423" y="446024"/>
                </a:lnTo>
                <a:lnTo>
                  <a:pt x="725424" y="385699"/>
                </a:lnTo>
                <a:lnTo>
                  <a:pt x="731774" y="317500"/>
                </a:lnTo>
                <a:lnTo>
                  <a:pt x="725424" y="226949"/>
                </a:lnTo>
                <a:lnTo>
                  <a:pt x="711073" y="144399"/>
                </a:lnTo>
                <a:lnTo>
                  <a:pt x="677799" y="68199"/>
                </a:lnTo>
                <a:lnTo>
                  <a:pt x="638048" y="0"/>
                </a:lnTo>
                <a:close/>
              </a:path>
            </a:pathLst>
          </a:custGeom>
          <a:solidFill>
            <a:srgbClr val="CC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840226" y="1689100"/>
            <a:ext cx="732155" cy="901700"/>
          </a:xfrm>
          <a:custGeom>
            <a:avLst/>
            <a:gdLst/>
            <a:ahLst/>
            <a:cxnLst/>
            <a:rect l="l" t="t" r="r" b="b"/>
            <a:pathLst>
              <a:path w="732154" h="901700">
                <a:moveTo>
                  <a:pt x="638048" y="0"/>
                </a:moveTo>
                <a:lnTo>
                  <a:pt x="625348" y="136525"/>
                </a:lnTo>
                <a:lnTo>
                  <a:pt x="611124" y="204724"/>
                </a:lnTo>
                <a:lnTo>
                  <a:pt x="598424" y="273050"/>
                </a:lnTo>
                <a:lnTo>
                  <a:pt x="571373" y="333375"/>
                </a:lnTo>
                <a:lnTo>
                  <a:pt x="552323" y="393700"/>
                </a:lnTo>
                <a:lnTo>
                  <a:pt x="519049" y="454025"/>
                </a:lnTo>
                <a:lnTo>
                  <a:pt x="485648" y="508000"/>
                </a:lnTo>
                <a:lnTo>
                  <a:pt x="452374" y="560324"/>
                </a:lnTo>
                <a:lnTo>
                  <a:pt x="412623" y="606425"/>
                </a:lnTo>
                <a:lnTo>
                  <a:pt x="365125" y="650875"/>
                </a:lnTo>
                <a:lnTo>
                  <a:pt x="319024" y="680974"/>
                </a:lnTo>
                <a:lnTo>
                  <a:pt x="273050" y="711200"/>
                </a:lnTo>
                <a:lnTo>
                  <a:pt x="212725" y="734949"/>
                </a:lnTo>
                <a:lnTo>
                  <a:pt x="158750" y="741299"/>
                </a:lnTo>
                <a:lnTo>
                  <a:pt x="92075" y="749300"/>
                </a:lnTo>
                <a:lnTo>
                  <a:pt x="45974" y="711200"/>
                </a:lnTo>
                <a:lnTo>
                  <a:pt x="0" y="673100"/>
                </a:lnTo>
                <a:lnTo>
                  <a:pt x="39624" y="749300"/>
                </a:lnTo>
                <a:lnTo>
                  <a:pt x="79375" y="809625"/>
                </a:lnTo>
                <a:lnTo>
                  <a:pt x="118999" y="869950"/>
                </a:lnTo>
                <a:lnTo>
                  <a:pt x="179324" y="893699"/>
                </a:lnTo>
                <a:lnTo>
                  <a:pt x="231775" y="901700"/>
                </a:lnTo>
                <a:lnTo>
                  <a:pt x="292100" y="901700"/>
                </a:lnTo>
                <a:lnTo>
                  <a:pt x="346075" y="901700"/>
                </a:lnTo>
                <a:lnTo>
                  <a:pt x="404749" y="885825"/>
                </a:lnTo>
                <a:lnTo>
                  <a:pt x="458724" y="863600"/>
                </a:lnTo>
                <a:lnTo>
                  <a:pt x="512699" y="839724"/>
                </a:lnTo>
                <a:lnTo>
                  <a:pt x="565023" y="809625"/>
                </a:lnTo>
                <a:lnTo>
                  <a:pt x="598424" y="757174"/>
                </a:lnTo>
                <a:lnTo>
                  <a:pt x="631698" y="704850"/>
                </a:lnTo>
                <a:lnTo>
                  <a:pt x="658749" y="642874"/>
                </a:lnTo>
                <a:lnTo>
                  <a:pt x="684149" y="582549"/>
                </a:lnTo>
                <a:lnTo>
                  <a:pt x="704723" y="514350"/>
                </a:lnTo>
                <a:lnTo>
                  <a:pt x="717423" y="446024"/>
                </a:lnTo>
                <a:lnTo>
                  <a:pt x="725424" y="385699"/>
                </a:lnTo>
                <a:lnTo>
                  <a:pt x="731774" y="317500"/>
                </a:lnTo>
                <a:lnTo>
                  <a:pt x="725424" y="226949"/>
                </a:lnTo>
                <a:lnTo>
                  <a:pt x="711073" y="144399"/>
                </a:lnTo>
                <a:lnTo>
                  <a:pt x="677799" y="68199"/>
                </a:lnTo>
                <a:lnTo>
                  <a:pt x="638048" y="0"/>
                </a:lnTo>
                <a:close/>
              </a:path>
            </a:pathLst>
          </a:custGeom>
          <a:ln w="9525">
            <a:solidFill>
              <a:srgbClr val="BB00B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990975" y="1839976"/>
            <a:ext cx="358775" cy="454025"/>
          </a:xfrm>
          <a:custGeom>
            <a:avLst/>
            <a:gdLst/>
            <a:ahLst/>
            <a:cxnLst/>
            <a:rect l="l" t="t" r="r" b="b"/>
            <a:pathLst>
              <a:path w="358775" h="454025">
                <a:moveTo>
                  <a:pt x="0" y="303149"/>
                </a:moveTo>
                <a:lnTo>
                  <a:pt x="0" y="317500"/>
                </a:lnTo>
                <a:lnTo>
                  <a:pt x="6350" y="347599"/>
                </a:lnTo>
                <a:lnTo>
                  <a:pt x="25400" y="393700"/>
                </a:lnTo>
                <a:lnTo>
                  <a:pt x="73025" y="431800"/>
                </a:lnTo>
                <a:lnTo>
                  <a:pt x="146050" y="454025"/>
                </a:lnTo>
                <a:lnTo>
                  <a:pt x="225425" y="454025"/>
                </a:lnTo>
                <a:lnTo>
                  <a:pt x="292100" y="431800"/>
                </a:lnTo>
                <a:lnTo>
                  <a:pt x="331724" y="393700"/>
                </a:lnTo>
                <a:lnTo>
                  <a:pt x="346075" y="363474"/>
                </a:lnTo>
                <a:lnTo>
                  <a:pt x="231775" y="363474"/>
                </a:lnTo>
                <a:lnTo>
                  <a:pt x="118999" y="355600"/>
                </a:lnTo>
                <a:lnTo>
                  <a:pt x="118999" y="311150"/>
                </a:lnTo>
                <a:lnTo>
                  <a:pt x="0" y="303149"/>
                </a:lnTo>
                <a:close/>
              </a:path>
              <a:path w="358775" h="454025">
                <a:moveTo>
                  <a:pt x="219075" y="0"/>
                </a:moveTo>
                <a:lnTo>
                  <a:pt x="185674" y="0"/>
                </a:lnTo>
                <a:lnTo>
                  <a:pt x="98425" y="7874"/>
                </a:lnTo>
                <a:lnTo>
                  <a:pt x="45974" y="30099"/>
                </a:lnTo>
                <a:lnTo>
                  <a:pt x="12700" y="68199"/>
                </a:lnTo>
                <a:lnTo>
                  <a:pt x="0" y="136525"/>
                </a:lnTo>
                <a:lnTo>
                  <a:pt x="6350" y="174625"/>
                </a:lnTo>
                <a:lnTo>
                  <a:pt x="33274" y="234950"/>
                </a:lnTo>
                <a:lnTo>
                  <a:pt x="92075" y="265049"/>
                </a:lnTo>
                <a:lnTo>
                  <a:pt x="139700" y="273050"/>
                </a:lnTo>
                <a:lnTo>
                  <a:pt x="231775" y="280924"/>
                </a:lnTo>
                <a:lnTo>
                  <a:pt x="231775" y="363474"/>
                </a:lnTo>
                <a:lnTo>
                  <a:pt x="346075" y="363474"/>
                </a:lnTo>
                <a:lnTo>
                  <a:pt x="352425" y="333375"/>
                </a:lnTo>
                <a:lnTo>
                  <a:pt x="358775" y="303149"/>
                </a:lnTo>
                <a:lnTo>
                  <a:pt x="352425" y="265049"/>
                </a:lnTo>
                <a:lnTo>
                  <a:pt x="325374" y="212725"/>
                </a:lnTo>
                <a:lnTo>
                  <a:pt x="265049" y="174625"/>
                </a:lnTo>
                <a:lnTo>
                  <a:pt x="225425" y="166624"/>
                </a:lnTo>
                <a:lnTo>
                  <a:pt x="179324" y="158750"/>
                </a:lnTo>
                <a:lnTo>
                  <a:pt x="112649" y="158750"/>
                </a:lnTo>
                <a:lnTo>
                  <a:pt x="112649" y="84074"/>
                </a:lnTo>
                <a:lnTo>
                  <a:pt x="329909" y="84074"/>
                </a:lnTo>
                <a:lnTo>
                  <a:pt x="325374" y="68199"/>
                </a:lnTo>
                <a:lnTo>
                  <a:pt x="312674" y="53975"/>
                </a:lnTo>
                <a:lnTo>
                  <a:pt x="298450" y="30099"/>
                </a:lnTo>
                <a:lnTo>
                  <a:pt x="271399" y="15875"/>
                </a:lnTo>
                <a:lnTo>
                  <a:pt x="252349" y="7874"/>
                </a:lnTo>
                <a:lnTo>
                  <a:pt x="219075" y="0"/>
                </a:lnTo>
                <a:close/>
              </a:path>
              <a:path w="358775" h="454025">
                <a:moveTo>
                  <a:pt x="329909" y="84074"/>
                </a:moveTo>
                <a:lnTo>
                  <a:pt x="152400" y="84074"/>
                </a:lnTo>
                <a:lnTo>
                  <a:pt x="219075" y="90424"/>
                </a:lnTo>
                <a:lnTo>
                  <a:pt x="219075" y="136525"/>
                </a:lnTo>
                <a:lnTo>
                  <a:pt x="331724" y="136525"/>
                </a:lnTo>
                <a:lnTo>
                  <a:pt x="331724" y="90424"/>
                </a:lnTo>
                <a:lnTo>
                  <a:pt x="329909" y="84074"/>
                </a:lnTo>
                <a:close/>
              </a:path>
            </a:pathLst>
          </a:custGeom>
          <a:solidFill>
            <a:srgbClr val="C1E7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990975" y="1839976"/>
            <a:ext cx="358775" cy="454025"/>
          </a:xfrm>
          <a:custGeom>
            <a:avLst/>
            <a:gdLst/>
            <a:ahLst/>
            <a:cxnLst/>
            <a:rect l="l" t="t" r="r" b="b"/>
            <a:pathLst>
              <a:path w="358775" h="454025">
                <a:moveTo>
                  <a:pt x="118999" y="311150"/>
                </a:moveTo>
                <a:lnTo>
                  <a:pt x="118999" y="355600"/>
                </a:lnTo>
                <a:lnTo>
                  <a:pt x="231775" y="363474"/>
                </a:lnTo>
                <a:lnTo>
                  <a:pt x="231775" y="317500"/>
                </a:lnTo>
                <a:lnTo>
                  <a:pt x="231775" y="280924"/>
                </a:lnTo>
                <a:lnTo>
                  <a:pt x="139700" y="273050"/>
                </a:lnTo>
                <a:lnTo>
                  <a:pt x="92075" y="265049"/>
                </a:lnTo>
                <a:lnTo>
                  <a:pt x="33274" y="234950"/>
                </a:lnTo>
                <a:lnTo>
                  <a:pt x="6350" y="174625"/>
                </a:lnTo>
                <a:lnTo>
                  <a:pt x="0" y="136525"/>
                </a:lnTo>
                <a:lnTo>
                  <a:pt x="6350" y="98425"/>
                </a:lnTo>
                <a:lnTo>
                  <a:pt x="25400" y="45974"/>
                </a:lnTo>
                <a:lnTo>
                  <a:pt x="73025" y="15875"/>
                </a:lnTo>
                <a:lnTo>
                  <a:pt x="185674" y="0"/>
                </a:lnTo>
                <a:lnTo>
                  <a:pt x="219075" y="0"/>
                </a:lnTo>
                <a:lnTo>
                  <a:pt x="252349" y="7874"/>
                </a:lnTo>
                <a:lnTo>
                  <a:pt x="271399" y="15875"/>
                </a:lnTo>
                <a:lnTo>
                  <a:pt x="298450" y="30099"/>
                </a:lnTo>
                <a:lnTo>
                  <a:pt x="312674" y="53975"/>
                </a:lnTo>
                <a:lnTo>
                  <a:pt x="325374" y="68199"/>
                </a:lnTo>
                <a:lnTo>
                  <a:pt x="331724" y="90424"/>
                </a:lnTo>
                <a:lnTo>
                  <a:pt x="331724" y="120650"/>
                </a:lnTo>
                <a:lnTo>
                  <a:pt x="331724" y="136525"/>
                </a:lnTo>
                <a:lnTo>
                  <a:pt x="219075" y="136525"/>
                </a:lnTo>
                <a:lnTo>
                  <a:pt x="219075" y="90424"/>
                </a:lnTo>
                <a:lnTo>
                  <a:pt x="152400" y="84074"/>
                </a:lnTo>
                <a:lnTo>
                  <a:pt x="112649" y="84074"/>
                </a:lnTo>
                <a:lnTo>
                  <a:pt x="112649" y="158750"/>
                </a:lnTo>
                <a:lnTo>
                  <a:pt x="118999" y="158750"/>
                </a:lnTo>
                <a:lnTo>
                  <a:pt x="179324" y="158750"/>
                </a:lnTo>
                <a:lnTo>
                  <a:pt x="225425" y="166624"/>
                </a:lnTo>
                <a:lnTo>
                  <a:pt x="265049" y="174625"/>
                </a:lnTo>
                <a:lnTo>
                  <a:pt x="325374" y="212725"/>
                </a:lnTo>
                <a:lnTo>
                  <a:pt x="352425" y="265049"/>
                </a:lnTo>
                <a:lnTo>
                  <a:pt x="358775" y="303149"/>
                </a:lnTo>
                <a:lnTo>
                  <a:pt x="352425" y="333375"/>
                </a:lnTo>
                <a:lnTo>
                  <a:pt x="331724" y="393700"/>
                </a:lnTo>
                <a:lnTo>
                  <a:pt x="292100" y="431800"/>
                </a:lnTo>
                <a:lnTo>
                  <a:pt x="225425" y="454025"/>
                </a:lnTo>
                <a:lnTo>
                  <a:pt x="185674" y="454025"/>
                </a:lnTo>
                <a:lnTo>
                  <a:pt x="146050" y="454025"/>
                </a:lnTo>
                <a:lnTo>
                  <a:pt x="106299" y="446024"/>
                </a:lnTo>
                <a:lnTo>
                  <a:pt x="52324" y="415925"/>
                </a:lnTo>
                <a:lnTo>
                  <a:pt x="12700" y="371475"/>
                </a:lnTo>
                <a:lnTo>
                  <a:pt x="0" y="317500"/>
                </a:lnTo>
                <a:lnTo>
                  <a:pt x="0" y="303149"/>
                </a:lnTo>
                <a:lnTo>
                  <a:pt x="118999" y="311150"/>
                </a:lnTo>
                <a:close/>
              </a:path>
            </a:pathLst>
          </a:custGeom>
          <a:ln w="9525">
            <a:solidFill>
              <a:srgbClr val="FF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648200" y="2667000"/>
            <a:ext cx="40005" cy="24130"/>
          </a:xfrm>
          <a:custGeom>
            <a:avLst/>
            <a:gdLst/>
            <a:ahLst/>
            <a:cxnLst/>
            <a:rect l="l" t="t" r="r" b="b"/>
            <a:pathLst>
              <a:path w="40004" h="24130">
                <a:moveTo>
                  <a:pt x="0" y="0"/>
                </a:moveTo>
                <a:lnTo>
                  <a:pt x="0" y="7874"/>
                </a:lnTo>
                <a:lnTo>
                  <a:pt x="39750" y="23875"/>
                </a:lnTo>
                <a:lnTo>
                  <a:pt x="33400" y="15875"/>
                </a:lnTo>
                <a:lnTo>
                  <a:pt x="33400" y="7874"/>
                </a:lnTo>
                <a:lnTo>
                  <a:pt x="12700" y="7874"/>
                </a:lnTo>
                <a:lnTo>
                  <a:pt x="0" y="0"/>
                </a:lnTo>
                <a:close/>
              </a:path>
            </a:pathLst>
          </a:custGeom>
          <a:solidFill>
            <a:srgbClr val="EF6F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048125" y="2598801"/>
            <a:ext cx="66675" cy="68580"/>
          </a:xfrm>
          <a:custGeom>
            <a:avLst/>
            <a:gdLst/>
            <a:ahLst/>
            <a:cxnLst/>
            <a:rect l="l" t="t" r="r" b="b"/>
            <a:pathLst>
              <a:path w="66675" h="68580">
                <a:moveTo>
                  <a:pt x="20574" y="0"/>
                </a:moveTo>
                <a:lnTo>
                  <a:pt x="26924" y="7874"/>
                </a:lnTo>
                <a:lnTo>
                  <a:pt x="0" y="30099"/>
                </a:lnTo>
                <a:lnTo>
                  <a:pt x="45974" y="68199"/>
                </a:lnTo>
                <a:lnTo>
                  <a:pt x="66675" y="37973"/>
                </a:lnTo>
                <a:lnTo>
                  <a:pt x="60325" y="15875"/>
                </a:lnTo>
                <a:lnTo>
                  <a:pt x="20574" y="0"/>
                </a:lnTo>
                <a:close/>
              </a:path>
            </a:pathLst>
          </a:custGeom>
          <a:solidFill>
            <a:srgbClr val="EA2B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038600" y="2667000"/>
            <a:ext cx="76200" cy="381000"/>
          </a:xfrm>
          <a:custGeom>
            <a:avLst/>
            <a:gdLst/>
            <a:ahLst/>
            <a:cxnLst/>
            <a:rect l="l" t="t" r="r" b="b"/>
            <a:pathLst>
              <a:path w="76200" h="381000">
                <a:moveTo>
                  <a:pt x="76200" y="0"/>
                </a:moveTo>
                <a:lnTo>
                  <a:pt x="61986" y="68721"/>
                </a:lnTo>
                <a:lnTo>
                  <a:pt x="48220" y="135433"/>
                </a:lnTo>
                <a:lnTo>
                  <a:pt x="35346" y="198127"/>
                </a:lnTo>
                <a:lnTo>
                  <a:pt x="23812" y="254793"/>
                </a:lnTo>
                <a:lnTo>
                  <a:pt x="14064" y="303423"/>
                </a:lnTo>
                <a:lnTo>
                  <a:pt x="6548" y="342007"/>
                </a:lnTo>
                <a:lnTo>
                  <a:pt x="0" y="381000"/>
                </a:lnTo>
                <a:lnTo>
                  <a:pt x="3554" y="370780"/>
                </a:lnTo>
                <a:lnTo>
                  <a:pt x="25992" y="282362"/>
                </a:lnTo>
                <a:lnTo>
                  <a:pt x="40876" y="221490"/>
                </a:lnTo>
                <a:lnTo>
                  <a:pt x="55539" y="161064"/>
                </a:lnTo>
                <a:lnTo>
                  <a:pt x="67980" y="109745"/>
                </a:lnTo>
                <a:lnTo>
                  <a:pt x="76200" y="76200"/>
                </a:lnTo>
              </a:path>
            </a:pathLst>
          </a:custGeom>
          <a:ln w="12700">
            <a:solidFill>
              <a:srgbClr val="CD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810000" y="1547875"/>
            <a:ext cx="332105" cy="598805"/>
          </a:xfrm>
          <a:custGeom>
            <a:avLst/>
            <a:gdLst/>
            <a:ahLst/>
            <a:cxnLst/>
            <a:rect l="l" t="t" r="r" b="b"/>
            <a:pathLst>
              <a:path w="332104" h="598805">
                <a:moveTo>
                  <a:pt x="265175" y="0"/>
                </a:moveTo>
                <a:lnTo>
                  <a:pt x="192150" y="23749"/>
                </a:lnTo>
                <a:lnTo>
                  <a:pt x="152400" y="45974"/>
                </a:lnTo>
                <a:lnTo>
                  <a:pt x="112775" y="98298"/>
                </a:lnTo>
                <a:lnTo>
                  <a:pt x="79375" y="152273"/>
                </a:lnTo>
                <a:lnTo>
                  <a:pt x="45974" y="226949"/>
                </a:lnTo>
                <a:lnTo>
                  <a:pt x="19050" y="303149"/>
                </a:lnTo>
                <a:lnTo>
                  <a:pt x="6350" y="349123"/>
                </a:lnTo>
                <a:lnTo>
                  <a:pt x="0" y="385699"/>
                </a:lnTo>
                <a:lnTo>
                  <a:pt x="0" y="477774"/>
                </a:lnTo>
                <a:lnTo>
                  <a:pt x="12700" y="522224"/>
                </a:lnTo>
                <a:lnTo>
                  <a:pt x="26924" y="560324"/>
                </a:lnTo>
                <a:lnTo>
                  <a:pt x="58674" y="590423"/>
                </a:lnTo>
                <a:lnTo>
                  <a:pt x="85725" y="598424"/>
                </a:lnTo>
                <a:lnTo>
                  <a:pt x="100075" y="590423"/>
                </a:lnTo>
                <a:lnTo>
                  <a:pt x="106425" y="576199"/>
                </a:lnTo>
                <a:lnTo>
                  <a:pt x="112775" y="522224"/>
                </a:lnTo>
                <a:lnTo>
                  <a:pt x="119125" y="484124"/>
                </a:lnTo>
                <a:lnTo>
                  <a:pt x="146050" y="371348"/>
                </a:lnTo>
                <a:lnTo>
                  <a:pt x="179450" y="288798"/>
                </a:lnTo>
                <a:lnTo>
                  <a:pt x="206375" y="234823"/>
                </a:lnTo>
                <a:lnTo>
                  <a:pt x="279400" y="158623"/>
                </a:lnTo>
                <a:lnTo>
                  <a:pt x="298450" y="128524"/>
                </a:lnTo>
                <a:lnTo>
                  <a:pt x="325500" y="91948"/>
                </a:lnTo>
                <a:lnTo>
                  <a:pt x="331850" y="60325"/>
                </a:lnTo>
                <a:lnTo>
                  <a:pt x="325500" y="38100"/>
                </a:lnTo>
                <a:lnTo>
                  <a:pt x="312800" y="15875"/>
                </a:lnTo>
                <a:lnTo>
                  <a:pt x="292100" y="7874"/>
                </a:lnTo>
                <a:lnTo>
                  <a:pt x="265175" y="0"/>
                </a:lnTo>
                <a:close/>
              </a:path>
            </a:pathLst>
          </a:custGeom>
          <a:solidFill>
            <a:srgbClr val="CC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810000" y="1547875"/>
            <a:ext cx="332105" cy="598805"/>
          </a:xfrm>
          <a:custGeom>
            <a:avLst/>
            <a:gdLst/>
            <a:ahLst/>
            <a:cxnLst/>
            <a:rect l="l" t="t" r="r" b="b"/>
            <a:pathLst>
              <a:path w="332104" h="598805">
                <a:moveTo>
                  <a:pt x="26924" y="560324"/>
                </a:moveTo>
                <a:lnTo>
                  <a:pt x="12700" y="522224"/>
                </a:lnTo>
                <a:lnTo>
                  <a:pt x="0" y="477774"/>
                </a:lnTo>
                <a:lnTo>
                  <a:pt x="0" y="431673"/>
                </a:lnTo>
                <a:lnTo>
                  <a:pt x="0" y="385699"/>
                </a:lnTo>
                <a:lnTo>
                  <a:pt x="6350" y="349123"/>
                </a:lnTo>
                <a:lnTo>
                  <a:pt x="19050" y="303149"/>
                </a:lnTo>
                <a:lnTo>
                  <a:pt x="45974" y="226949"/>
                </a:lnTo>
                <a:lnTo>
                  <a:pt x="79375" y="152273"/>
                </a:lnTo>
                <a:lnTo>
                  <a:pt x="112775" y="98298"/>
                </a:lnTo>
                <a:lnTo>
                  <a:pt x="152400" y="45974"/>
                </a:lnTo>
                <a:lnTo>
                  <a:pt x="192150" y="23749"/>
                </a:lnTo>
                <a:lnTo>
                  <a:pt x="231775" y="7874"/>
                </a:lnTo>
                <a:lnTo>
                  <a:pt x="265175" y="0"/>
                </a:lnTo>
                <a:lnTo>
                  <a:pt x="292100" y="7874"/>
                </a:lnTo>
                <a:lnTo>
                  <a:pt x="312800" y="15875"/>
                </a:lnTo>
                <a:lnTo>
                  <a:pt x="325500" y="38100"/>
                </a:lnTo>
                <a:lnTo>
                  <a:pt x="331850" y="60325"/>
                </a:lnTo>
                <a:lnTo>
                  <a:pt x="325500" y="91948"/>
                </a:lnTo>
                <a:lnTo>
                  <a:pt x="298450" y="128524"/>
                </a:lnTo>
                <a:lnTo>
                  <a:pt x="279400" y="158623"/>
                </a:lnTo>
                <a:lnTo>
                  <a:pt x="225425" y="204724"/>
                </a:lnTo>
                <a:lnTo>
                  <a:pt x="179450" y="288798"/>
                </a:lnTo>
                <a:lnTo>
                  <a:pt x="146050" y="371348"/>
                </a:lnTo>
                <a:lnTo>
                  <a:pt x="119125" y="484124"/>
                </a:lnTo>
                <a:lnTo>
                  <a:pt x="112775" y="522224"/>
                </a:lnTo>
                <a:lnTo>
                  <a:pt x="106425" y="576199"/>
                </a:lnTo>
                <a:lnTo>
                  <a:pt x="100075" y="590423"/>
                </a:lnTo>
                <a:lnTo>
                  <a:pt x="85725" y="598424"/>
                </a:lnTo>
                <a:lnTo>
                  <a:pt x="58674" y="590423"/>
                </a:lnTo>
                <a:lnTo>
                  <a:pt x="26924" y="560324"/>
                </a:lnTo>
                <a:close/>
              </a:path>
            </a:pathLst>
          </a:custGeom>
          <a:ln w="9525">
            <a:solidFill>
              <a:srgbClr val="BB00B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7912607" y="274320"/>
            <a:ext cx="809244" cy="8199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4000" dirty="0"/>
              <a:t>Utilities </a:t>
            </a:r>
            <a:r>
              <a:rPr sz="4000" spc="-5" dirty="0"/>
              <a:t>– Material</a:t>
            </a:r>
            <a:r>
              <a:rPr sz="4000" spc="25" dirty="0"/>
              <a:t> </a:t>
            </a:r>
            <a:r>
              <a:rPr sz="4000" spc="-5" dirty="0"/>
              <a:t>Determination</a:t>
            </a:r>
            <a:endParaRPr sz="4000" dirty="0"/>
          </a:p>
        </p:txBody>
      </p:sp>
      <p:sp>
        <p:nvSpPr>
          <p:cNvPr id="8" name="object 8"/>
          <p:cNvSpPr/>
          <p:nvPr/>
        </p:nvSpPr>
        <p:spPr>
          <a:xfrm>
            <a:off x="4191000" y="1219200"/>
            <a:ext cx="4572000" cy="1981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76648" y="1204849"/>
            <a:ext cx="4600575" cy="2009775"/>
          </a:xfrm>
          <a:custGeom>
            <a:avLst/>
            <a:gdLst/>
            <a:ahLst/>
            <a:cxnLst/>
            <a:rect l="l" t="t" r="r" b="b"/>
            <a:pathLst>
              <a:path w="4600575" h="2009775">
                <a:moveTo>
                  <a:pt x="0" y="2009775"/>
                </a:moveTo>
                <a:lnTo>
                  <a:pt x="4600575" y="2009775"/>
                </a:lnTo>
                <a:lnTo>
                  <a:pt x="4600575" y="0"/>
                </a:lnTo>
                <a:lnTo>
                  <a:pt x="0" y="0"/>
                </a:lnTo>
                <a:lnTo>
                  <a:pt x="0" y="2009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1000" y="3352672"/>
            <a:ext cx="4572000" cy="20209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176648" y="3338448"/>
            <a:ext cx="4600575" cy="2049780"/>
          </a:xfrm>
          <a:custGeom>
            <a:avLst/>
            <a:gdLst/>
            <a:ahLst/>
            <a:cxnLst/>
            <a:rect l="l" t="t" r="r" b="b"/>
            <a:pathLst>
              <a:path w="4600575" h="2049779">
                <a:moveTo>
                  <a:pt x="0" y="2049526"/>
                </a:moveTo>
                <a:lnTo>
                  <a:pt x="4600575" y="2049526"/>
                </a:lnTo>
                <a:lnTo>
                  <a:pt x="4600575" y="0"/>
                </a:lnTo>
                <a:lnTo>
                  <a:pt x="0" y="0"/>
                </a:lnTo>
                <a:lnTo>
                  <a:pt x="0" y="2049526"/>
                </a:lnTo>
                <a:close/>
              </a:path>
            </a:pathLst>
          </a:custGeom>
          <a:ln w="2857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270375" y="5526735"/>
            <a:ext cx="3463925" cy="743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25" dirty="0">
                <a:latin typeface="Times New Roman"/>
                <a:cs typeface="Times New Roman"/>
              </a:rPr>
              <a:t>VB11 </a:t>
            </a:r>
            <a:r>
              <a:rPr sz="1600" b="1" spc="-5" dirty="0">
                <a:latin typeface="Times New Roman"/>
                <a:cs typeface="Times New Roman"/>
              </a:rPr>
              <a:t>– </a:t>
            </a:r>
            <a:r>
              <a:rPr sz="1600" b="1" spc="-10" dirty="0">
                <a:latin typeface="Times New Roman"/>
                <a:cs typeface="Times New Roman"/>
              </a:rPr>
              <a:t>Create </a:t>
            </a:r>
            <a:r>
              <a:rPr sz="1600" b="1" spc="-5" dirty="0">
                <a:latin typeface="Times New Roman"/>
                <a:cs typeface="Times New Roman"/>
              </a:rPr>
              <a:t>Material determination  VB12 – Change Material determination  VB13 – Display Material</a:t>
            </a:r>
            <a:r>
              <a:rPr sz="1600" b="1" spc="20" dirty="0">
                <a:latin typeface="Times New Roman"/>
                <a:cs typeface="Times New Roman"/>
              </a:rPr>
              <a:t> </a:t>
            </a:r>
            <a:r>
              <a:rPr sz="1600" b="1" spc="-5" dirty="0">
                <a:latin typeface="Times New Roman"/>
                <a:cs typeface="Times New Roman"/>
              </a:rPr>
              <a:t>determination</a:t>
            </a:r>
            <a:endParaRPr sz="160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72986" y="3048000"/>
            <a:ext cx="3810000" cy="314172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04800" y="2214562"/>
            <a:ext cx="590550" cy="65246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91464" y="1765427"/>
            <a:ext cx="540385" cy="378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dirty="0">
                <a:latin typeface="Times New Roman"/>
                <a:cs typeface="Times New Roman"/>
              </a:rPr>
              <a:t>Mat</a:t>
            </a:r>
            <a:r>
              <a:rPr sz="1200" spc="-10" dirty="0">
                <a:latin typeface="Times New Roman"/>
                <a:cs typeface="Times New Roman"/>
              </a:rPr>
              <a:t>e</a:t>
            </a:r>
            <a:r>
              <a:rPr sz="1200" dirty="0">
                <a:latin typeface="Times New Roman"/>
                <a:cs typeface="Times New Roman"/>
              </a:rPr>
              <a:t>ri</a:t>
            </a:r>
            <a:r>
              <a:rPr sz="1200" spc="-10" dirty="0">
                <a:latin typeface="Times New Roman"/>
                <a:cs typeface="Times New Roman"/>
              </a:rPr>
              <a:t>a</a:t>
            </a:r>
            <a:r>
              <a:rPr sz="1200" dirty="0">
                <a:latin typeface="Times New Roman"/>
                <a:cs typeface="Times New Roman"/>
              </a:rPr>
              <a:t>l  </a:t>
            </a:r>
            <a:r>
              <a:rPr sz="1200" spc="-5" dirty="0">
                <a:latin typeface="Times New Roman"/>
                <a:cs typeface="Times New Roman"/>
              </a:rPr>
              <a:t>Entered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288794" y="1394714"/>
            <a:ext cx="1700530" cy="225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Times New Roman"/>
                <a:cs typeface="Times New Roman"/>
              </a:rPr>
              <a:t>Material</a:t>
            </a:r>
            <a:r>
              <a:rPr sz="1400" spc="-65" dirty="0">
                <a:latin typeface="Times New Roman"/>
                <a:cs typeface="Times New Roman"/>
              </a:rPr>
              <a:t> </a:t>
            </a:r>
            <a:r>
              <a:rPr sz="1400" spc="-5" dirty="0">
                <a:latin typeface="Times New Roman"/>
                <a:cs typeface="Times New Roman"/>
              </a:rPr>
              <a:t>Determination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282700" y="2203450"/>
            <a:ext cx="646112" cy="69215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296416" y="1757426"/>
            <a:ext cx="636905" cy="378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Times New Roman"/>
                <a:cs typeface="Times New Roman"/>
              </a:rPr>
              <a:t>S</a:t>
            </a:r>
            <a:r>
              <a:rPr sz="1200" dirty="0">
                <a:latin typeface="Times New Roman"/>
                <a:cs typeface="Times New Roman"/>
              </a:rPr>
              <a:t>ubstitute</a:t>
            </a:r>
            <a:endParaRPr sz="12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Times New Roman"/>
                <a:cs typeface="Times New Roman"/>
              </a:rPr>
              <a:t>Material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059051" y="2181225"/>
            <a:ext cx="387350" cy="381000"/>
          </a:xfrm>
          <a:custGeom>
            <a:avLst/>
            <a:gdLst/>
            <a:ahLst/>
            <a:cxnLst/>
            <a:rect l="l" t="t" r="r" b="b"/>
            <a:pathLst>
              <a:path w="387350" h="381000">
                <a:moveTo>
                  <a:pt x="290449" y="0"/>
                </a:moveTo>
                <a:lnTo>
                  <a:pt x="290449" y="95250"/>
                </a:lnTo>
                <a:lnTo>
                  <a:pt x="0" y="95250"/>
                </a:lnTo>
                <a:lnTo>
                  <a:pt x="0" y="285750"/>
                </a:lnTo>
                <a:lnTo>
                  <a:pt x="290449" y="285750"/>
                </a:lnTo>
                <a:lnTo>
                  <a:pt x="290449" y="381000"/>
                </a:lnTo>
                <a:lnTo>
                  <a:pt x="387350" y="190500"/>
                </a:lnTo>
                <a:lnTo>
                  <a:pt x="290449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059051" y="2181225"/>
            <a:ext cx="387350" cy="381000"/>
          </a:xfrm>
          <a:custGeom>
            <a:avLst/>
            <a:gdLst/>
            <a:ahLst/>
            <a:cxnLst/>
            <a:rect l="l" t="t" r="r" b="b"/>
            <a:pathLst>
              <a:path w="387350" h="381000">
                <a:moveTo>
                  <a:pt x="0" y="95250"/>
                </a:moveTo>
                <a:lnTo>
                  <a:pt x="290449" y="95250"/>
                </a:lnTo>
                <a:lnTo>
                  <a:pt x="290449" y="0"/>
                </a:lnTo>
                <a:lnTo>
                  <a:pt x="387350" y="190500"/>
                </a:lnTo>
                <a:lnTo>
                  <a:pt x="290449" y="381000"/>
                </a:lnTo>
                <a:lnTo>
                  <a:pt x="290449" y="285750"/>
                </a:lnTo>
                <a:lnTo>
                  <a:pt x="0" y="285750"/>
                </a:lnTo>
                <a:lnTo>
                  <a:pt x="0" y="952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2590800" y="1828800"/>
            <a:ext cx="914400" cy="121920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5715" rIns="0" bIns="0" rtlCol="0">
            <a:spAutoFit/>
          </a:bodyPr>
          <a:lstStyle/>
          <a:p>
            <a:pPr marL="135890">
              <a:lnSpc>
                <a:spcPct val="100000"/>
              </a:lnSpc>
              <a:spcBef>
                <a:spcPts val="45"/>
              </a:spcBef>
            </a:pPr>
            <a:r>
              <a:rPr sz="1000" spc="-5" dirty="0">
                <a:latin typeface="Times New Roman"/>
                <a:cs typeface="Times New Roman"/>
              </a:rPr>
              <a:t>Sales</a:t>
            </a:r>
            <a:r>
              <a:rPr sz="1000" spc="-7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Order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667000" y="2203450"/>
            <a:ext cx="646112" cy="69215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391464" y="1383410"/>
            <a:ext cx="1235075" cy="225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Times New Roman"/>
                <a:cs typeface="Times New Roman"/>
              </a:rPr>
              <a:t>Condition</a:t>
            </a:r>
            <a:r>
              <a:rPr sz="1400" spc="-95" dirty="0">
                <a:latin typeface="Times New Roman"/>
                <a:cs typeface="Times New Roman"/>
              </a:rPr>
              <a:t> </a:t>
            </a:r>
            <a:r>
              <a:rPr sz="1400" dirty="0">
                <a:latin typeface="Times New Roman"/>
                <a:cs typeface="Times New Roman"/>
              </a:rPr>
              <a:t>record</a:t>
            </a:r>
            <a:endParaRPr sz="14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689330" y="1066800"/>
            <a:ext cx="1676400" cy="137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676400" y="1066800"/>
            <a:ext cx="1676400" cy="1371600"/>
          </a:xfrm>
          <a:custGeom>
            <a:avLst/>
            <a:gdLst/>
            <a:ahLst/>
            <a:cxnLst/>
            <a:rect l="l" t="t" r="r" b="b"/>
            <a:pathLst>
              <a:path w="1676400" h="1371600">
                <a:moveTo>
                  <a:pt x="0" y="685800"/>
                </a:moveTo>
                <a:lnTo>
                  <a:pt x="1649" y="642433"/>
                </a:lnTo>
                <a:lnTo>
                  <a:pt x="6530" y="599783"/>
                </a:lnTo>
                <a:lnTo>
                  <a:pt x="14547" y="557929"/>
                </a:lnTo>
                <a:lnTo>
                  <a:pt x="25600" y="516952"/>
                </a:lnTo>
                <a:lnTo>
                  <a:pt x="39590" y="476932"/>
                </a:lnTo>
                <a:lnTo>
                  <a:pt x="56421" y="437950"/>
                </a:lnTo>
                <a:lnTo>
                  <a:pt x="75994" y="400086"/>
                </a:lnTo>
                <a:lnTo>
                  <a:pt x="98210" y="363420"/>
                </a:lnTo>
                <a:lnTo>
                  <a:pt x="122971" y="328034"/>
                </a:lnTo>
                <a:lnTo>
                  <a:pt x="150180" y="294006"/>
                </a:lnTo>
                <a:lnTo>
                  <a:pt x="179737" y="261418"/>
                </a:lnTo>
                <a:lnTo>
                  <a:pt x="211546" y="230350"/>
                </a:lnTo>
                <a:lnTo>
                  <a:pt x="245506" y="200882"/>
                </a:lnTo>
                <a:lnTo>
                  <a:pt x="281522" y="173095"/>
                </a:lnTo>
                <a:lnTo>
                  <a:pt x="319493" y="147068"/>
                </a:lnTo>
                <a:lnTo>
                  <a:pt x="359322" y="122884"/>
                </a:lnTo>
                <a:lnTo>
                  <a:pt x="400911" y="100621"/>
                </a:lnTo>
                <a:lnTo>
                  <a:pt x="444162" y="80360"/>
                </a:lnTo>
                <a:lnTo>
                  <a:pt x="488976" y="62182"/>
                </a:lnTo>
                <a:lnTo>
                  <a:pt x="535255" y="46167"/>
                </a:lnTo>
                <a:lnTo>
                  <a:pt x="582901" y="32395"/>
                </a:lnTo>
                <a:lnTo>
                  <a:pt x="631816" y="20947"/>
                </a:lnTo>
                <a:lnTo>
                  <a:pt x="681902" y="11903"/>
                </a:lnTo>
                <a:lnTo>
                  <a:pt x="733059" y="5344"/>
                </a:lnTo>
                <a:lnTo>
                  <a:pt x="785191" y="1349"/>
                </a:lnTo>
                <a:lnTo>
                  <a:pt x="838200" y="0"/>
                </a:lnTo>
                <a:lnTo>
                  <a:pt x="891208" y="1349"/>
                </a:lnTo>
                <a:lnTo>
                  <a:pt x="943340" y="5344"/>
                </a:lnTo>
                <a:lnTo>
                  <a:pt x="994497" y="11903"/>
                </a:lnTo>
                <a:lnTo>
                  <a:pt x="1044583" y="20947"/>
                </a:lnTo>
                <a:lnTo>
                  <a:pt x="1093498" y="32395"/>
                </a:lnTo>
                <a:lnTo>
                  <a:pt x="1141144" y="46167"/>
                </a:lnTo>
                <a:lnTo>
                  <a:pt x="1187423" y="62182"/>
                </a:lnTo>
                <a:lnTo>
                  <a:pt x="1232237" y="80360"/>
                </a:lnTo>
                <a:lnTo>
                  <a:pt x="1275488" y="100621"/>
                </a:lnTo>
                <a:lnTo>
                  <a:pt x="1317077" y="122884"/>
                </a:lnTo>
                <a:lnTo>
                  <a:pt x="1356906" y="147068"/>
                </a:lnTo>
                <a:lnTo>
                  <a:pt x="1394877" y="173095"/>
                </a:lnTo>
                <a:lnTo>
                  <a:pt x="1430893" y="200882"/>
                </a:lnTo>
                <a:lnTo>
                  <a:pt x="1464853" y="230350"/>
                </a:lnTo>
                <a:lnTo>
                  <a:pt x="1496662" y="261418"/>
                </a:lnTo>
                <a:lnTo>
                  <a:pt x="1526219" y="294006"/>
                </a:lnTo>
                <a:lnTo>
                  <a:pt x="1553428" y="328034"/>
                </a:lnTo>
                <a:lnTo>
                  <a:pt x="1578189" y="363420"/>
                </a:lnTo>
                <a:lnTo>
                  <a:pt x="1600405" y="400086"/>
                </a:lnTo>
                <a:lnTo>
                  <a:pt x="1619978" y="437950"/>
                </a:lnTo>
                <a:lnTo>
                  <a:pt x="1636809" y="476932"/>
                </a:lnTo>
                <a:lnTo>
                  <a:pt x="1650799" y="516952"/>
                </a:lnTo>
                <a:lnTo>
                  <a:pt x="1661852" y="557929"/>
                </a:lnTo>
                <a:lnTo>
                  <a:pt x="1669869" y="599783"/>
                </a:lnTo>
                <a:lnTo>
                  <a:pt x="1674750" y="642433"/>
                </a:lnTo>
                <a:lnTo>
                  <a:pt x="1676400" y="685800"/>
                </a:lnTo>
                <a:lnTo>
                  <a:pt x="1674750" y="729166"/>
                </a:lnTo>
                <a:lnTo>
                  <a:pt x="1669869" y="771816"/>
                </a:lnTo>
                <a:lnTo>
                  <a:pt x="1661852" y="813670"/>
                </a:lnTo>
                <a:lnTo>
                  <a:pt x="1650799" y="854647"/>
                </a:lnTo>
                <a:lnTo>
                  <a:pt x="1636809" y="894667"/>
                </a:lnTo>
                <a:lnTo>
                  <a:pt x="1619978" y="933649"/>
                </a:lnTo>
                <a:lnTo>
                  <a:pt x="1600405" y="971513"/>
                </a:lnTo>
                <a:lnTo>
                  <a:pt x="1578189" y="1008179"/>
                </a:lnTo>
                <a:lnTo>
                  <a:pt x="1553428" y="1043565"/>
                </a:lnTo>
                <a:lnTo>
                  <a:pt x="1526219" y="1077593"/>
                </a:lnTo>
                <a:lnTo>
                  <a:pt x="1496662" y="1110181"/>
                </a:lnTo>
                <a:lnTo>
                  <a:pt x="1464853" y="1141249"/>
                </a:lnTo>
                <a:lnTo>
                  <a:pt x="1430893" y="1170717"/>
                </a:lnTo>
                <a:lnTo>
                  <a:pt x="1394877" y="1198504"/>
                </a:lnTo>
                <a:lnTo>
                  <a:pt x="1356906" y="1224531"/>
                </a:lnTo>
                <a:lnTo>
                  <a:pt x="1317077" y="1248715"/>
                </a:lnTo>
                <a:lnTo>
                  <a:pt x="1275488" y="1270978"/>
                </a:lnTo>
                <a:lnTo>
                  <a:pt x="1232237" y="1291239"/>
                </a:lnTo>
                <a:lnTo>
                  <a:pt x="1187423" y="1309417"/>
                </a:lnTo>
                <a:lnTo>
                  <a:pt x="1141144" y="1325432"/>
                </a:lnTo>
                <a:lnTo>
                  <a:pt x="1093498" y="1339204"/>
                </a:lnTo>
                <a:lnTo>
                  <a:pt x="1044583" y="1350652"/>
                </a:lnTo>
                <a:lnTo>
                  <a:pt x="994497" y="1359696"/>
                </a:lnTo>
                <a:lnTo>
                  <a:pt x="943340" y="1366255"/>
                </a:lnTo>
                <a:lnTo>
                  <a:pt x="891208" y="1370250"/>
                </a:lnTo>
                <a:lnTo>
                  <a:pt x="838200" y="1371600"/>
                </a:lnTo>
                <a:lnTo>
                  <a:pt x="785191" y="1370250"/>
                </a:lnTo>
                <a:lnTo>
                  <a:pt x="733059" y="1366255"/>
                </a:lnTo>
                <a:lnTo>
                  <a:pt x="681902" y="1359696"/>
                </a:lnTo>
                <a:lnTo>
                  <a:pt x="631816" y="1350652"/>
                </a:lnTo>
                <a:lnTo>
                  <a:pt x="582901" y="1339204"/>
                </a:lnTo>
                <a:lnTo>
                  <a:pt x="535255" y="1325432"/>
                </a:lnTo>
                <a:lnTo>
                  <a:pt x="488976" y="1309417"/>
                </a:lnTo>
                <a:lnTo>
                  <a:pt x="444162" y="1291239"/>
                </a:lnTo>
                <a:lnTo>
                  <a:pt x="400911" y="1270978"/>
                </a:lnTo>
                <a:lnTo>
                  <a:pt x="359322" y="1248715"/>
                </a:lnTo>
                <a:lnTo>
                  <a:pt x="319493" y="1224531"/>
                </a:lnTo>
                <a:lnTo>
                  <a:pt x="281522" y="1198504"/>
                </a:lnTo>
                <a:lnTo>
                  <a:pt x="245506" y="1170717"/>
                </a:lnTo>
                <a:lnTo>
                  <a:pt x="211546" y="1141249"/>
                </a:lnTo>
                <a:lnTo>
                  <a:pt x="179737" y="1110181"/>
                </a:lnTo>
                <a:lnTo>
                  <a:pt x="150180" y="1077593"/>
                </a:lnTo>
                <a:lnTo>
                  <a:pt x="122971" y="1043565"/>
                </a:lnTo>
                <a:lnTo>
                  <a:pt x="98210" y="1008179"/>
                </a:lnTo>
                <a:lnTo>
                  <a:pt x="75994" y="971513"/>
                </a:lnTo>
                <a:lnTo>
                  <a:pt x="56421" y="933649"/>
                </a:lnTo>
                <a:lnTo>
                  <a:pt x="39590" y="894667"/>
                </a:lnTo>
                <a:lnTo>
                  <a:pt x="25600" y="854647"/>
                </a:lnTo>
                <a:lnTo>
                  <a:pt x="14547" y="813670"/>
                </a:lnTo>
                <a:lnTo>
                  <a:pt x="6530" y="771816"/>
                </a:lnTo>
                <a:lnTo>
                  <a:pt x="1649" y="729166"/>
                </a:lnTo>
                <a:lnTo>
                  <a:pt x="0" y="685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34883" y="260604"/>
            <a:ext cx="886968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Listing &amp;</a:t>
            </a:r>
            <a:r>
              <a:rPr spc="-60" dirty="0"/>
              <a:t> </a:t>
            </a:r>
            <a:r>
              <a:rPr dirty="0"/>
              <a:t>Exclusion</a:t>
            </a:r>
          </a:p>
        </p:txBody>
      </p:sp>
      <p:sp>
        <p:nvSpPr>
          <p:cNvPr id="10" name="object 10"/>
          <p:cNvSpPr/>
          <p:nvPr/>
        </p:nvSpPr>
        <p:spPr>
          <a:xfrm>
            <a:off x="533400" y="2586101"/>
            <a:ext cx="8050530" cy="3662679"/>
          </a:xfrm>
          <a:custGeom>
            <a:avLst/>
            <a:gdLst/>
            <a:ahLst/>
            <a:cxnLst/>
            <a:rect l="l" t="t" r="r" b="b"/>
            <a:pathLst>
              <a:path w="8050530" h="3662679">
                <a:moveTo>
                  <a:pt x="0" y="3662299"/>
                </a:moveTo>
                <a:lnTo>
                  <a:pt x="8050276" y="3662299"/>
                </a:lnTo>
                <a:lnTo>
                  <a:pt x="8050276" y="0"/>
                </a:lnTo>
                <a:lnTo>
                  <a:pt x="0" y="0"/>
                </a:lnTo>
                <a:lnTo>
                  <a:pt x="0" y="3662299"/>
                </a:lnTo>
                <a:close/>
              </a:path>
            </a:pathLst>
          </a:custGeom>
          <a:solidFill>
            <a:srgbClr val="ADB5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12140" y="2628646"/>
            <a:ext cx="7874000" cy="3577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listing lists </a:t>
            </a:r>
            <a:r>
              <a:rPr sz="1800" b="1" spc="5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materials a customer can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spc="-40" dirty="0">
                <a:latin typeface="Arial"/>
                <a:cs typeface="Arial"/>
              </a:rPr>
              <a:t>buy.</a:t>
            </a:r>
            <a:endParaRPr sz="1800">
              <a:latin typeface="Arial"/>
              <a:cs typeface="Arial"/>
            </a:endParaRPr>
          </a:p>
          <a:p>
            <a:pPr marL="154305" indent="-141605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5" dirty="0">
                <a:latin typeface="Arial"/>
                <a:cs typeface="Arial"/>
              </a:rPr>
              <a:t>Material exclusion lists </a:t>
            </a:r>
            <a:r>
              <a:rPr sz="1800" b="1" spc="5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materials a customer cannot</a:t>
            </a:r>
            <a:r>
              <a:rPr sz="1800" b="1" spc="6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buy</a:t>
            </a:r>
            <a:endParaRPr sz="1800">
              <a:latin typeface="Arial"/>
              <a:cs typeface="Arial"/>
            </a:endParaRPr>
          </a:p>
          <a:p>
            <a:pPr marL="154305" indent="-141605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listing applies to </a:t>
            </a:r>
            <a:r>
              <a:rPr sz="1800" b="1" spc="15" dirty="0">
                <a:latin typeface="Arial"/>
                <a:cs typeface="Arial"/>
              </a:rPr>
              <a:t>two </a:t>
            </a:r>
            <a:r>
              <a:rPr sz="1800" b="1" spc="-5" dirty="0">
                <a:latin typeface="Arial"/>
                <a:cs typeface="Arial"/>
              </a:rPr>
              <a:t>partner </a:t>
            </a:r>
            <a:r>
              <a:rPr sz="1800" b="1" dirty="0">
                <a:latin typeface="Arial"/>
                <a:cs typeface="Arial"/>
              </a:rPr>
              <a:t>functions in </a:t>
            </a:r>
            <a:r>
              <a:rPr sz="1800" b="1" spc="-5" dirty="0">
                <a:latin typeface="Arial"/>
                <a:cs typeface="Arial"/>
              </a:rPr>
              <a:t>Sales &amp;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Distribution: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sold-to party and </a:t>
            </a:r>
            <a:r>
              <a:rPr sz="1800" b="1" dirty="0">
                <a:latin typeface="Arial"/>
                <a:cs typeface="Arial"/>
              </a:rPr>
              <a:t>the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payer.</a:t>
            </a:r>
            <a:endParaRPr sz="1800">
              <a:latin typeface="Arial"/>
              <a:cs typeface="Arial"/>
            </a:endParaRPr>
          </a:p>
          <a:p>
            <a:pPr marL="12700" marR="537210">
              <a:lnSpc>
                <a:spcPct val="100000"/>
              </a:lnSpc>
              <a:buFont typeface="Arial"/>
              <a:buChar char="•"/>
              <a:tabLst>
                <a:tab pos="218440" algn="l"/>
              </a:tabLst>
            </a:pPr>
            <a:r>
              <a:rPr sz="1800" b="1" spc="5" dirty="0">
                <a:latin typeface="Arial"/>
                <a:cs typeface="Arial"/>
              </a:rPr>
              <a:t>when </a:t>
            </a:r>
            <a:r>
              <a:rPr sz="1800" b="1" dirty="0">
                <a:latin typeface="Arial"/>
                <a:cs typeface="Arial"/>
              </a:rPr>
              <a:t>the sold-to </a:t>
            </a:r>
            <a:r>
              <a:rPr sz="1800" b="1" spc="-5" dirty="0">
                <a:latin typeface="Arial"/>
                <a:cs typeface="Arial"/>
              </a:rPr>
              <a:t>party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10" dirty="0">
                <a:latin typeface="Arial"/>
                <a:cs typeface="Arial"/>
              </a:rPr>
              <a:t>payer </a:t>
            </a:r>
            <a:r>
              <a:rPr sz="1800" b="1" spc="-5" dirty="0">
                <a:latin typeface="Arial"/>
                <a:cs typeface="Arial"/>
              </a:rPr>
              <a:t>are different,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listing  </a:t>
            </a:r>
            <a:r>
              <a:rPr sz="1800" b="1" spc="-5" dirty="0">
                <a:latin typeface="Arial"/>
                <a:cs typeface="Arial"/>
              </a:rPr>
              <a:t>check </a:t>
            </a:r>
            <a:r>
              <a:rPr sz="1800" b="1" dirty="0">
                <a:latin typeface="Arial"/>
                <a:cs typeface="Arial"/>
              </a:rPr>
              <a:t>is </a:t>
            </a:r>
            <a:r>
              <a:rPr sz="1800" b="1" spc="-5" dirty="0">
                <a:latin typeface="Arial"/>
                <a:cs typeface="Arial"/>
              </a:rPr>
              <a:t>as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follows:</a:t>
            </a:r>
            <a:endParaRPr sz="1800">
              <a:latin typeface="Arial"/>
              <a:cs typeface="Arial"/>
            </a:endParaRPr>
          </a:p>
          <a:p>
            <a:pPr marL="469900" marR="123825" lvl="1">
              <a:lnSpc>
                <a:spcPct val="100000"/>
              </a:lnSpc>
              <a:buFont typeface="Wingdings"/>
              <a:buChar char=""/>
              <a:tabLst>
                <a:tab pos="735330" algn="l"/>
              </a:tabLst>
            </a:pPr>
            <a:r>
              <a:rPr sz="1800" b="1" dirty="0">
                <a:latin typeface="Arial"/>
                <a:cs typeface="Arial"/>
              </a:rPr>
              <a:t>If the sold-to </a:t>
            </a:r>
            <a:r>
              <a:rPr sz="1800" b="1" spc="-5" dirty="0">
                <a:latin typeface="Arial"/>
                <a:cs typeface="Arial"/>
              </a:rPr>
              <a:t>party has a material </a:t>
            </a:r>
            <a:r>
              <a:rPr sz="1800" b="1" dirty="0">
                <a:latin typeface="Arial"/>
                <a:cs typeface="Arial"/>
              </a:rPr>
              <a:t>listing, 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dirty="0">
                <a:latin typeface="Arial"/>
                <a:cs typeface="Arial"/>
              </a:rPr>
              <a:t>only </a:t>
            </a:r>
            <a:r>
              <a:rPr sz="1800" b="1" spc="-5" dirty="0">
                <a:latin typeface="Arial"/>
                <a:cs typeface="Arial"/>
              </a:rPr>
              <a:t>checks  </a:t>
            </a:r>
            <a:r>
              <a:rPr sz="1800" b="1" dirty="0">
                <a:latin typeface="Arial"/>
                <a:cs typeface="Arial"/>
              </a:rPr>
              <a:t>this listing (no other </a:t>
            </a:r>
            <a:r>
              <a:rPr sz="1800" b="1" spc="-5" dirty="0">
                <a:latin typeface="Arial"/>
                <a:cs typeface="Arial"/>
              </a:rPr>
              <a:t>check takes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lace).</a:t>
            </a:r>
            <a:endParaRPr sz="1800">
              <a:latin typeface="Arial"/>
              <a:cs typeface="Arial"/>
            </a:endParaRPr>
          </a:p>
          <a:p>
            <a:pPr marL="469900" marR="200660" lvl="1">
              <a:lnSpc>
                <a:spcPct val="100000"/>
              </a:lnSpc>
              <a:buFont typeface="Wingdings"/>
              <a:buChar char=""/>
              <a:tabLst>
                <a:tab pos="735330" algn="l"/>
              </a:tabLst>
            </a:pPr>
            <a:r>
              <a:rPr sz="1800" b="1" dirty="0">
                <a:latin typeface="Arial"/>
                <a:cs typeface="Arial"/>
              </a:rPr>
              <a:t>If </a:t>
            </a:r>
            <a:r>
              <a:rPr sz="1800" b="1" spc="-5" dirty="0">
                <a:latin typeface="Arial"/>
                <a:cs typeface="Arial"/>
              </a:rPr>
              <a:t>there is </a:t>
            </a:r>
            <a:r>
              <a:rPr sz="1800" b="1" dirty="0">
                <a:latin typeface="Arial"/>
                <a:cs typeface="Arial"/>
              </a:rPr>
              <a:t>no listing </a:t>
            </a:r>
            <a:r>
              <a:rPr sz="1800" b="1" spc="-5" dirty="0">
                <a:latin typeface="Arial"/>
                <a:cs typeface="Arial"/>
              </a:rPr>
              <a:t>for </a:t>
            </a:r>
            <a:r>
              <a:rPr sz="1800" b="1" dirty="0">
                <a:latin typeface="Arial"/>
                <a:cs typeface="Arial"/>
              </a:rPr>
              <a:t>the sold-to </a:t>
            </a:r>
            <a:r>
              <a:rPr sz="1800" b="1" spc="-30" dirty="0">
                <a:latin typeface="Arial"/>
                <a:cs typeface="Arial"/>
              </a:rPr>
              <a:t>party, </a:t>
            </a:r>
            <a:r>
              <a:rPr sz="1800" b="1" dirty="0">
                <a:latin typeface="Arial"/>
                <a:cs typeface="Arial"/>
              </a:rPr>
              <a:t>but </a:t>
            </a:r>
            <a:r>
              <a:rPr sz="1800" b="1" spc="-5" dirty="0">
                <a:latin typeface="Arial"/>
                <a:cs typeface="Arial"/>
              </a:rPr>
              <a:t>a </a:t>
            </a:r>
            <a:r>
              <a:rPr sz="1800" b="1" dirty="0">
                <a:latin typeface="Arial"/>
                <a:cs typeface="Arial"/>
              </a:rPr>
              <a:t>listing </a:t>
            </a:r>
            <a:r>
              <a:rPr sz="1800" b="1" spc="-5" dirty="0">
                <a:latin typeface="Arial"/>
                <a:cs typeface="Arial"/>
              </a:rPr>
              <a:t>has been  created </a:t>
            </a:r>
            <a:r>
              <a:rPr sz="1800" b="1" dirty="0">
                <a:latin typeface="Arial"/>
                <a:cs typeface="Arial"/>
              </a:rPr>
              <a:t>for the </a:t>
            </a:r>
            <a:r>
              <a:rPr sz="1800" b="1" spc="-25" dirty="0">
                <a:latin typeface="Arial"/>
                <a:cs typeface="Arial"/>
              </a:rPr>
              <a:t>payer,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10" dirty="0">
                <a:latin typeface="Arial"/>
                <a:cs typeface="Arial"/>
              </a:rPr>
              <a:t>system </a:t>
            </a:r>
            <a:r>
              <a:rPr sz="1800" b="1" spc="-5" dirty="0">
                <a:latin typeface="Arial"/>
                <a:cs typeface="Arial"/>
              </a:rPr>
              <a:t>automatically check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payer’s  </a:t>
            </a:r>
            <a:r>
              <a:rPr sz="1800" b="1" dirty="0">
                <a:latin typeface="Arial"/>
                <a:cs typeface="Arial"/>
              </a:rPr>
              <a:t>listing.</a:t>
            </a:r>
            <a:endParaRPr sz="1800">
              <a:latin typeface="Arial"/>
              <a:cs typeface="Arial"/>
            </a:endParaRPr>
          </a:p>
          <a:p>
            <a:pPr marL="469900" marR="527050" lvl="1">
              <a:lnSpc>
                <a:spcPct val="100000"/>
              </a:lnSpc>
              <a:buFont typeface="Wingdings"/>
              <a:buChar char=""/>
              <a:tabLst>
                <a:tab pos="735330" algn="l"/>
              </a:tabLst>
            </a:pPr>
            <a:r>
              <a:rPr sz="1800" b="1" dirty="0">
                <a:latin typeface="Arial"/>
                <a:cs typeface="Arial"/>
              </a:rPr>
              <a:t>If no </a:t>
            </a: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listing </a:t>
            </a:r>
            <a:r>
              <a:rPr sz="1800" b="1" spc="-5" dirty="0">
                <a:latin typeface="Arial"/>
                <a:cs typeface="Arial"/>
              </a:rPr>
              <a:t>data exists for either </a:t>
            </a:r>
            <a:r>
              <a:rPr sz="1800" b="1" dirty="0">
                <a:latin typeface="Arial"/>
                <a:cs typeface="Arial"/>
              </a:rPr>
              <a:t>the sold-to </a:t>
            </a:r>
            <a:r>
              <a:rPr sz="1800" b="1" spc="-5" dirty="0">
                <a:latin typeface="Arial"/>
                <a:cs typeface="Arial"/>
              </a:rPr>
              <a:t>party or  </a:t>
            </a:r>
            <a:r>
              <a:rPr sz="1800" b="1" spc="-25" dirty="0">
                <a:latin typeface="Arial"/>
                <a:cs typeface="Arial"/>
              </a:rPr>
              <a:t>payer, </a:t>
            </a:r>
            <a:r>
              <a:rPr sz="1800" b="1" dirty="0">
                <a:latin typeface="Arial"/>
                <a:cs typeface="Arial"/>
              </a:rPr>
              <a:t>then the </a:t>
            </a:r>
            <a:r>
              <a:rPr sz="1800" b="1" spc="-5" dirty="0">
                <a:latin typeface="Arial"/>
                <a:cs typeface="Arial"/>
              </a:rPr>
              <a:t>customer may order any</a:t>
            </a:r>
            <a:r>
              <a:rPr sz="1800" b="1" spc="4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aterial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133600" y="1447800"/>
            <a:ext cx="685800" cy="533400"/>
          </a:xfrm>
          <a:custGeom>
            <a:avLst/>
            <a:gdLst/>
            <a:ahLst/>
            <a:cxnLst/>
            <a:rect l="l" t="t" r="r" b="b"/>
            <a:pathLst>
              <a:path w="685800" h="533400">
                <a:moveTo>
                  <a:pt x="342900" y="0"/>
                </a:moveTo>
                <a:lnTo>
                  <a:pt x="287285" y="3489"/>
                </a:lnTo>
                <a:lnTo>
                  <a:pt x="234525" y="13594"/>
                </a:lnTo>
                <a:lnTo>
                  <a:pt x="185327" y="29763"/>
                </a:lnTo>
                <a:lnTo>
                  <a:pt x="140396" y="51450"/>
                </a:lnTo>
                <a:lnTo>
                  <a:pt x="100441" y="78104"/>
                </a:lnTo>
                <a:lnTo>
                  <a:pt x="66165" y="109179"/>
                </a:lnTo>
                <a:lnTo>
                  <a:pt x="38277" y="144124"/>
                </a:lnTo>
                <a:lnTo>
                  <a:pt x="17483" y="182392"/>
                </a:lnTo>
                <a:lnTo>
                  <a:pt x="4488" y="223433"/>
                </a:lnTo>
                <a:lnTo>
                  <a:pt x="0" y="266700"/>
                </a:lnTo>
                <a:lnTo>
                  <a:pt x="4488" y="309966"/>
                </a:lnTo>
                <a:lnTo>
                  <a:pt x="17483" y="351007"/>
                </a:lnTo>
                <a:lnTo>
                  <a:pt x="38277" y="389275"/>
                </a:lnTo>
                <a:lnTo>
                  <a:pt x="66165" y="424220"/>
                </a:lnTo>
                <a:lnTo>
                  <a:pt x="100441" y="455295"/>
                </a:lnTo>
                <a:lnTo>
                  <a:pt x="140396" y="481949"/>
                </a:lnTo>
                <a:lnTo>
                  <a:pt x="185327" y="503636"/>
                </a:lnTo>
                <a:lnTo>
                  <a:pt x="234525" y="519805"/>
                </a:lnTo>
                <a:lnTo>
                  <a:pt x="287285" y="529910"/>
                </a:lnTo>
                <a:lnTo>
                  <a:pt x="342900" y="533400"/>
                </a:lnTo>
                <a:lnTo>
                  <a:pt x="398514" y="529910"/>
                </a:lnTo>
                <a:lnTo>
                  <a:pt x="451274" y="519805"/>
                </a:lnTo>
                <a:lnTo>
                  <a:pt x="500472" y="503636"/>
                </a:lnTo>
                <a:lnTo>
                  <a:pt x="545403" y="481949"/>
                </a:lnTo>
                <a:lnTo>
                  <a:pt x="585358" y="455295"/>
                </a:lnTo>
                <a:lnTo>
                  <a:pt x="619634" y="424220"/>
                </a:lnTo>
                <a:lnTo>
                  <a:pt x="647522" y="389275"/>
                </a:lnTo>
                <a:lnTo>
                  <a:pt x="668316" y="351007"/>
                </a:lnTo>
                <a:lnTo>
                  <a:pt x="681311" y="309966"/>
                </a:lnTo>
                <a:lnTo>
                  <a:pt x="685800" y="266700"/>
                </a:lnTo>
                <a:lnTo>
                  <a:pt x="681311" y="223433"/>
                </a:lnTo>
                <a:lnTo>
                  <a:pt x="668316" y="182392"/>
                </a:lnTo>
                <a:lnTo>
                  <a:pt x="647522" y="144124"/>
                </a:lnTo>
                <a:lnTo>
                  <a:pt x="619634" y="109179"/>
                </a:lnTo>
                <a:lnTo>
                  <a:pt x="585358" y="78104"/>
                </a:lnTo>
                <a:lnTo>
                  <a:pt x="545403" y="51450"/>
                </a:lnTo>
                <a:lnTo>
                  <a:pt x="500472" y="29763"/>
                </a:lnTo>
                <a:lnTo>
                  <a:pt x="451274" y="13594"/>
                </a:lnTo>
                <a:lnTo>
                  <a:pt x="398514" y="3489"/>
                </a:lnTo>
                <a:lnTo>
                  <a:pt x="342900" y="0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133600" y="1447800"/>
            <a:ext cx="685800" cy="533400"/>
          </a:xfrm>
          <a:custGeom>
            <a:avLst/>
            <a:gdLst/>
            <a:ahLst/>
            <a:cxnLst/>
            <a:rect l="l" t="t" r="r" b="b"/>
            <a:pathLst>
              <a:path w="685800" h="533400">
                <a:moveTo>
                  <a:pt x="0" y="266700"/>
                </a:moveTo>
                <a:lnTo>
                  <a:pt x="4488" y="223433"/>
                </a:lnTo>
                <a:lnTo>
                  <a:pt x="17483" y="182392"/>
                </a:lnTo>
                <a:lnTo>
                  <a:pt x="38277" y="144124"/>
                </a:lnTo>
                <a:lnTo>
                  <a:pt x="66165" y="109179"/>
                </a:lnTo>
                <a:lnTo>
                  <a:pt x="100441" y="78104"/>
                </a:lnTo>
                <a:lnTo>
                  <a:pt x="140396" y="51450"/>
                </a:lnTo>
                <a:lnTo>
                  <a:pt x="185327" y="29763"/>
                </a:lnTo>
                <a:lnTo>
                  <a:pt x="234525" y="13594"/>
                </a:lnTo>
                <a:lnTo>
                  <a:pt x="287285" y="3489"/>
                </a:lnTo>
                <a:lnTo>
                  <a:pt x="342900" y="0"/>
                </a:lnTo>
                <a:lnTo>
                  <a:pt x="398514" y="3489"/>
                </a:lnTo>
                <a:lnTo>
                  <a:pt x="451274" y="13594"/>
                </a:lnTo>
                <a:lnTo>
                  <a:pt x="500472" y="29763"/>
                </a:lnTo>
                <a:lnTo>
                  <a:pt x="545403" y="51450"/>
                </a:lnTo>
                <a:lnTo>
                  <a:pt x="585358" y="78104"/>
                </a:lnTo>
                <a:lnTo>
                  <a:pt x="619634" y="109179"/>
                </a:lnTo>
                <a:lnTo>
                  <a:pt x="647522" y="144124"/>
                </a:lnTo>
                <a:lnTo>
                  <a:pt x="668316" y="182392"/>
                </a:lnTo>
                <a:lnTo>
                  <a:pt x="681311" y="223433"/>
                </a:lnTo>
                <a:lnTo>
                  <a:pt x="685800" y="266700"/>
                </a:lnTo>
                <a:lnTo>
                  <a:pt x="681311" y="309966"/>
                </a:lnTo>
                <a:lnTo>
                  <a:pt x="668316" y="351007"/>
                </a:lnTo>
                <a:lnTo>
                  <a:pt x="647522" y="389275"/>
                </a:lnTo>
                <a:lnTo>
                  <a:pt x="619634" y="424220"/>
                </a:lnTo>
                <a:lnTo>
                  <a:pt x="585358" y="455295"/>
                </a:lnTo>
                <a:lnTo>
                  <a:pt x="545403" y="481949"/>
                </a:lnTo>
                <a:lnTo>
                  <a:pt x="500472" y="503636"/>
                </a:lnTo>
                <a:lnTo>
                  <a:pt x="451274" y="519805"/>
                </a:lnTo>
                <a:lnTo>
                  <a:pt x="398514" y="529910"/>
                </a:lnTo>
                <a:lnTo>
                  <a:pt x="342900" y="533400"/>
                </a:lnTo>
                <a:lnTo>
                  <a:pt x="287285" y="529910"/>
                </a:lnTo>
                <a:lnTo>
                  <a:pt x="234525" y="519805"/>
                </a:lnTo>
                <a:lnTo>
                  <a:pt x="185327" y="503636"/>
                </a:lnTo>
                <a:lnTo>
                  <a:pt x="140396" y="481949"/>
                </a:lnTo>
                <a:lnTo>
                  <a:pt x="100441" y="455295"/>
                </a:lnTo>
                <a:lnTo>
                  <a:pt x="66165" y="424220"/>
                </a:lnTo>
                <a:lnTo>
                  <a:pt x="38277" y="389275"/>
                </a:lnTo>
                <a:lnTo>
                  <a:pt x="17483" y="351007"/>
                </a:lnTo>
                <a:lnTo>
                  <a:pt x="4488" y="309966"/>
                </a:lnTo>
                <a:lnTo>
                  <a:pt x="0" y="26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267457" y="1553717"/>
            <a:ext cx="42164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List</a:t>
            </a:r>
          </a:p>
        </p:txBody>
      </p:sp>
      <p:sp>
        <p:nvSpPr>
          <p:cNvPr id="15" name="object 15"/>
          <p:cNvSpPr/>
          <p:nvPr/>
        </p:nvSpPr>
        <p:spPr>
          <a:xfrm>
            <a:off x="4768571" y="1173339"/>
            <a:ext cx="1689100" cy="13843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2491739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834883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Utilities – Listing &amp;</a:t>
            </a:r>
            <a:r>
              <a:rPr spc="-60" dirty="0"/>
              <a:t> </a:t>
            </a:r>
            <a:r>
              <a:rPr dirty="0"/>
              <a:t>Exclusion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4541854" y="4914772"/>
            <a:ext cx="366141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02 – Change Listing /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Exclusion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40739" y="4914772"/>
            <a:ext cx="3672840" cy="62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01 – Create Listing /</a:t>
            </a:r>
            <a:r>
              <a:rPr sz="2000" spc="-12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Exclusion</a:t>
            </a:r>
            <a:endParaRPr sz="20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03 – Display Listing /</a:t>
            </a:r>
            <a:r>
              <a:rPr sz="2000" spc="-13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Exclusion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454275" y="2922523"/>
            <a:ext cx="457200" cy="225425"/>
          </a:xfrm>
          <a:custGeom>
            <a:avLst/>
            <a:gdLst/>
            <a:ahLst/>
            <a:cxnLst/>
            <a:rect l="l" t="t" r="r" b="b"/>
            <a:pathLst>
              <a:path w="457200" h="225425">
                <a:moveTo>
                  <a:pt x="342900" y="0"/>
                </a:moveTo>
                <a:lnTo>
                  <a:pt x="342900" y="56387"/>
                </a:lnTo>
                <a:lnTo>
                  <a:pt x="0" y="56387"/>
                </a:lnTo>
                <a:lnTo>
                  <a:pt x="0" y="169163"/>
                </a:lnTo>
                <a:lnTo>
                  <a:pt x="342900" y="169163"/>
                </a:lnTo>
                <a:lnTo>
                  <a:pt x="342900" y="225425"/>
                </a:lnTo>
                <a:lnTo>
                  <a:pt x="457200" y="112775"/>
                </a:lnTo>
                <a:lnTo>
                  <a:pt x="342900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454275" y="2922523"/>
            <a:ext cx="457200" cy="225425"/>
          </a:xfrm>
          <a:custGeom>
            <a:avLst/>
            <a:gdLst/>
            <a:ahLst/>
            <a:cxnLst/>
            <a:rect l="l" t="t" r="r" b="b"/>
            <a:pathLst>
              <a:path w="457200" h="225425">
                <a:moveTo>
                  <a:pt x="0" y="56387"/>
                </a:moveTo>
                <a:lnTo>
                  <a:pt x="342900" y="56387"/>
                </a:lnTo>
                <a:lnTo>
                  <a:pt x="342900" y="0"/>
                </a:lnTo>
                <a:lnTo>
                  <a:pt x="457200" y="112775"/>
                </a:lnTo>
                <a:lnTo>
                  <a:pt x="342900" y="225425"/>
                </a:lnTo>
                <a:lnTo>
                  <a:pt x="342900" y="169163"/>
                </a:lnTo>
                <a:lnTo>
                  <a:pt x="0" y="169163"/>
                </a:lnTo>
                <a:lnTo>
                  <a:pt x="0" y="563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140075" y="2136775"/>
            <a:ext cx="1219200" cy="18256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06875" y="3810000"/>
            <a:ext cx="152400" cy="152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140075" y="2136775"/>
            <a:ext cx="1219200" cy="1825625"/>
          </a:xfrm>
          <a:custGeom>
            <a:avLst/>
            <a:gdLst/>
            <a:ahLst/>
            <a:cxnLst/>
            <a:rect l="l" t="t" r="r" b="b"/>
            <a:pathLst>
              <a:path w="1219200" h="1825625">
                <a:moveTo>
                  <a:pt x="1066800" y="1825625"/>
                </a:moveTo>
                <a:lnTo>
                  <a:pt x="1097279" y="1703705"/>
                </a:lnTo>
                <a:lnTo>
                  <a:pt x="1219200" y="1673225"/>
                </a:lnTo>
                <a:lnTo>
                  <a:pt x="1066800" y="1825625"/>
                </a:lnTo>
                <a:lnTo>
                  <a:pt x="0" y="1825625"/>
                </a:lnTo>
                <a:lnTo>
                  <a:pt x="0" y="0"/>
                </a:lnTo>
                <a:lnTo>
                  <a:pt x="1219200" y="0"/>
                </a:lnTo>
                <a:lnTo>
                  <a:pt x="1219200" y="16732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219450" y="2664078"/>
            <a:ext cx="903605" cy="62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Sold-to party:</a:t>
            </a:r>
            <a:r>
              <a:rPr sz="1000" spc="-6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C1  </a:t>
            </a:r>
            <a:r>
              <a:rPr sz="1000" spc="-10" dirty="0">
                <a:latin typeface="Times New Roman"/>
                <a:cs typeface="Times New Roman"/>
              </a:rPr>
              <a:t>Item:</a:t>
            </a:r>
            <a:r>
              <a:rPr sz="1000" spc="-6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M1</a:t>
            </a:r>
            <a:endParaRPr sz="1000">
              <a:latin typeface="Times New Roman"/>
              <a:cs typeface="Times New Roman"/>
            </a:endParaRPr>
          </a:p>
          <a:p>
            <a:pPr marL="295910" marR="422909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M2  M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25475" y="2414523"/>
            <a:ext cx="1600200" cy="17002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5475" y="2171700"/>
            <a:ext cx="1600200" cy="4857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5475" y="2171700"/>
            <a:ext cx="1600200" cy="1943100"/>
          </a:xfrm>
          <a:custGeom>
            <a:avLst/>
            <a:gdLst/>
            <a:ahLst/>
            <a:cxnLst/>
            <a:rect l="l" t="t" r="r" b="b"/>
            <a:pathLst>
              <a:path w="1600200" h="1943100">
                <a:moveTo>
                  <a:pt x="1600200" y="242824"/>
                </a:moveTo>
                <a:lnTo>
                  <a:pt x="1588611" y="284269"/>
                </a:lnTo>
                <a:lnTo>
                  <a:pt x="1555126" y="323436"/>
                </a:lnTo>
                <a:lnTo>
                  <a:pt x="1501668" y="359741"/>
                </a:lnTo>
                <a:lnTo>
                  <a:pt x="1430159" y="392602"/>
                </a:lnTo>
                <a:lnTo>
                  <a:pt x="1388235" y="407560"/>
                </a:lnTo>
                <a:lnTo>
                  <a:pt x="1342520" y="421438"/>
                </a:lnTo>
                <a:lnTo>
                  <a:pt x="1293254" y="434165"/>
                </a:lnTo>
                <a:lnTo>
                  <a:pt x="1240676" y="445667"/>
                </a:lnTo>
                <a:lnTo>
                  <a:pt x="1185027" y="455871"/>
                </a:lnTo>
                <a:lnTo>
                  <a:pt x="1126547" y="464705"/>
                </a:lnTo>
                <a:lnTo>
                  <a:pt x="1065477" y="472096"/>
                </a:lnTo>
                <a:lnTo>
                  <a:pt x="1002057" y="477971"/>
                </a:lnTo>
                <a:lnTo>
                  <a:pt x="936527" y="482258"/>
                </a:lnTo>
                <a:lnTo>
                  <a:pt x="869128" y="484883"/>
                </a:lnTo>
                <a:lnTo>
                  <a:pt x="800100" y="485775"/>
                </a:lnTo>
                <a:lnTo>
                  <a:pt x="731064" y="484883"/>
                </a:lnTo>
                <a:lnTo>
                  <a:pt x="663659" y="482258"/>
                </a:lnTo>
                <a:lnTo>
                  <a:pt x="598125" y="477971"/>
                </a:lnTo>
                <a:lnTo>
                  <a:pt x="534702" y="472096"/>
                </a:lnTo>
                <a:lnTo>
                  <a:pt x="473630" y="464705"/>
                </a:lnTo>
                <a:lnTo>
                  <a:pt x="415149" y="455871"/>
                </a:lnTo>
                <a:lnTo>
                  <a:pt x="359501" y="445667"/>
                </a:lnTo>
                <a:lnTo>
                  <a:pt x="306924" y="434165"/>
                </a:lnTo>
                <a:lnTo>
                  <a:pt x="257659" y="421438"/>
                </a:lnTo>
                <a:lnTo>
                  <a:pt x="211946" y="407560"/>
                </a:lnTo>
                <a:lnTo>
                  <a:pt x="170025" y="392602"/>
                </a:lnTo>
                <a:lnTo>
                  <a:pt x="132136" y="376638"/>
                </a:lnTo>
                <a:lnTo>
                  <a:pt x="69418" y="341982"/>
                </a:lnTo>
                <a:lnTo>
                  <a:pt x="25711" y="304174"/>
                </a:lnTo>
                <a:lnTo>
                  <a:pt x="2936" y="263795"/>
                </a:lnTo>
                <a:lnTo>
                  <a:pt x="0" y="242824"/>
                </a:lnTo>
                <a:lnTo>
                  <a:pt x="2936" y="221871"/>
                </a:lnTo>
                <a:lnTo>
                  <a:pt x="11587" y="201414"/>
                </a:lnTo>
                <a:lnTo>
                  <a:pt x="45068" y="162276"/>
                </a:lnTo>
                <a:lnTo>
                  <a:pt x="98521" y="125993"/>
                </a:lnTo>
                <a:lnTo>
                  <a:pt x="170025" y="93147"/>
                </a:lnTo>
                <a:lnTo>
                  <a:pt x="211946" y="78196"/>
                </a:lnTo>
                <a:lnTo>
                  <a:pt x="257659" y="64322"/>
                </a:lnTo>
                <a:lnTo>
                  <a:pt x="306924" y="51600"/>
                </a:lnTo>
                <a:lnTo>
                  <a:pt x="359501" y="40101"/>
                </a:lnTo>
                <a:lnTo>
                  <a:pt x="415149" y="29899"/>
                </a:lnTo>
                <a:lnTo>
                  <a:pt x="473630" y="21067"/>
                </a:lnTo>
                <a:lnTo>
                  <a:pt x="534702" y="13677"/>
                </a:lnTo>
                <a:lnTo>
                  <a:pt x="598125" y="7802"/>
                </a:lnTo>
                <a:lnTo>
                  <a:pt x="663659" y="3516"/>
                </a:lnTo>
                <a:lnTo>
                  <a:pt x="731064" y="891"/>
                </a:lnTo>
                <a:lnTo>
                  <a:pt x="800100" y="0"/>
                </a:lnTo>
                <a:lnTo>
                  <a:pt x="869128" y="891"/>
                </a:lnTo>
                <a:lnTo>
                  <a:pt x="936527" y="3516"/>
                </a:lnTo>
                <a:lnTo>
                  <a:pt x="1002057" y="7802"/>
                </a:lnTo>
                <a:lnTo>
                  <a:pt x="1065477" y="13677"/>
                </a:lnTo>
                <a:lnTo>
                  <a:pt x="1126547" y="21067"/>
                </a:lnTo>
                <a:lnTo>
                  <a:pt x="1185027" y="29899"/>
                </a:lnTo>
                <a:lnTo>
                  <a:pt x="1240676" y="40101"/>
                </a:lnTo>
                <a:lnTo>
                  <a:pt x="1293254" y="51600"/>
                </a:lnTo>
                <a:lnTo>
                  <a:pt x="1342520" y="64322"/>
                </a:lnTo>
                <a:lnTo>
                  <a:pt x="1388235" y="78196"/>
                </a:lnTo>
                <a:lnTo>
                  <a:pt x="1430159" y="93147"/>
                </a:lnTo>
                <a:lnTo>
                  <a:pt x="1468049" y="109104"/>
                </a:lnTo>
                <a:lnTo>
                  <a:pt x="1530774" y="143741"/>
                </a:lnTo>
                <a:lnTo>
                  <a:pt x="1574485" y="181524"/>
                </a:lnTo>
                <a:lnTo>
                  <a:pt x="1597262" y="221871"/>
                </a:lnTo>
                <a:lnTo>
                  <a:pt x="1600200" y="242824"/>
                </a:lnTo>
                <a:lnTo>
                  <a:pt x="1600200" y="1700276"/>
                </a:lnTo>
                <a:lnTo>
                  <a:pt x="1597262" y="1721228"/>
                </a:lnTo>
                <a:lnTo>
                  <a:pt x="1588611" y="1741685"/>
                </a:lnTo>
                <a:lnTo>
                  <a:pt x="1555126" y="1780823"/>
                </a:lnTo>
                <a:lnTo>
                  <a:pt x="1501668" y="1817106"/>
                </a:lnTo>
                <a:lnTo>
                  <a:pt x="1430159" y="1849952"/>
                </a:lnTo>
                <a:lnTo>
                  <a:pt x="1388235" y="1864903"/>
                </a:lnTo>
                <a:lnTo>
                  <a:pt x="1342520" y="1878777"/>
                </a:lnTo>
                <a:lnTo>
                  <a:pt x="1293254" y="1891499"/>
                </a:lnTo>
                <a:lnTo>
                  <a:pt x="1240676" y="1902998"/>
                </a:lnTo>
                <a:lnTo>
                  <a:pt x="1185027" y="1913200"/>
                </a:lnTo>
                <a:lnTo>
                  <a:pt x="1126547" y="1922032"/>
                </a:lnTo>
                <a:lnTo>
                  <a:pt x="1065477" y="1929422"/>
                </a:lnTo>
                <a:lnTo>
                  <a:pt x="1002057" y="1935297"/>
                </a:lnTo>
                <a:lnTo>
                  <a:pt x="936527" y="1939583"/>
                </a:lnTo>
                <a:lnTo>
                  <a:pt x="869128" y="1942208"/>
                </a:lnTo>
                <a:lnTo>
                  <a:pt x="800100" y="1943100"/>
                </a:lnTo>
                <a:lnTo>
                  <a:pt x="731064" y="1942208"/>
                </a:lnTo>
                <a:lnTo>
                  <a:pt x="663659" y="1939583"/>
                </a:lnTo>
                <a:lnTo>
                  <a:pt x="598125" y="1935297"/>
                </a:lnTo>
                <a:lnTo>
                  <a:pt x="534702" y="1929422"/>
                </a:lnTo>
                <a:lnTo>
                  <a:pt x="473630" y="1922032"/>
                </a:lnTo>
                <a:lnTo>
                  <a:pt x="415149" y="1913200"/>
                </a:lnTo>
                <a:lnTo>
                  <a:pt x="359501" y="1902998"/>
                </a:lnTo>
                <a:lnTo>
                  <a:pt x="306924" y="1891499"/>
                </a:lnTo>
                <a:lnTo>
                  <a:pt x="257659" y="1878777"/>
                </a:lnTo>
                <a:lnTo>
                  <a:pt x="211946" y="1864903"/>
                </a:lnTo>
                <a:lnTo>
                  <a:pt x="170025" y="1849952"/>
                </a:lnTo>
                <a:lnTo>
                  <a:pt x="132136" y="1833995"/>
                </a:lnTo>
                <a:lnTo>
                  <a:pt x="69418" y="1799358"/>
                </a:lnTo>
                <a:lnTo>
                  <a:pt x="25711" y="1761575"/>
                </a:lnTo>
                <a:lnTo>
                  <a:pt x="2936" y="1721228"/>
                </a:lnTo>
                <a:lnTo>
                  <a:pt x="0" y="1700276"/>
                </a:lnTo>
                <a:lnTo>
                  <a:pt x="0" y="2428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856894" y="2754183"/>
            <a:ext cx="1122680" cy="572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3300"/>
              </a:lnSpc>
            </a:pP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Customer : C1  </a:t>
            </a:r>
            <a:r>
              <a:rPr sz="1200" spc="-5" dirty="0">
                <a:solidFill>
                  <a:srgbClr val="FFFFFF"/>
                </a:solidFill>
                <a:latin typeface="Times New Roman"/>
                <a:cs typeface="Times New Roman"/>
              </a:rPr>
              <a:t>Material: </a:t>
            </a: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M1,</a:t>
            </a:r>
            <a:r>
              <a:rPr sz="1200" spc="-60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M2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800600" y="2331466"/>
            <a:ext cx="1600200" cy="170713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800600" y="2087626"/>
            <a:ext cx="1600200" cy="48767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800600" y="2087626"/>
            <a:ext cx="1600200" cy="1951355"/>
          </a:xfrm>
          <a:custGeom>
            <a:avLst/>
            <a:gdLst/>
            <a:ahLst/>
            <a:cxnLst/>
            <a:rect l="l" t="t" r="r" b="b"/>
            <a:pathLst>
              <a:path w="1600200" h="1951354">
                <a:moveTo>
                  <a:pt x="1600200" y="243839"/>
                </a:moveTo>
                <a:lnTo>
                  <a:pt x="1588611" y="285409"/>
                </a:lnTo>
                <a:lnTo>
                  <a:pt x="1555126" y="324703"/>
                </a:lnTo>
                <a:lnTo>
                  <a:pt x="1501668" y="361136"/>
                </a:lnTo>
                <a:lnTo>
                  <a:pt x="1430159" y="394120"/>
                </a:lnTo>
                <a:lnTo>
                  <a:pt x="1388235" y="409135"/>
                </a:lnTo>
                <a:lnTo>
                  <a:pt x="1342520" y="423069"/>
                </a:lnTo>
                <a:lnTo>
                  <a:pt x="1293254" y="435847"/>
                </a:lnTo>
                <a:lnTo>
                  <a:pt x="1240676" y="447396"/>
                </a:lnTo>
                <a:lnTo>
                  <a:pt x="1185027" y="457644"/>
                </a:lnTo>
                <a:lnTo>
                  <a:pt x="1126547" y="466516"/>
                </a:lnTo>
                <a:lnTo>
                  <a:pt x="1065477" y="473939"/>
                </a:lnTo>
                <a:lnTo>
                  <a:pt x="1002057" y="479841"/>
                </a:lnTo>
                <a:lnTo>
                  <a:pt x="936527" y="484147"/>
                </a:lnTo>
                <a:lnTo>
                  <a:pt x="869128" y="486784"/>
                </a:lnTo>
                <a:lnTo>
                  <a:pt x="800100" y="487679"/>
                </a:lnTo>
                <a:lnTo>
                  <a:pt x="731071" y="486784"/>
                </a:lnTo>
                <a:lnTo>
                  <a:pt x="663672" y="484147"/>
                </a:lnTo>
                <a:lnTo>
                  <a:pt x="598142" y="479841"/>
                </a:lnTo>
                <a:lnTo>
                  <a:pt x="534722" y="473939"/>
                </a:lnTo>
                <a:lnTo>
                  <a:pt x="473652" y="466516"/>
                </a:lnTo>
                <a:lnTo>
                  <a:pt x="415172" y="457644"/>
                </a:lnTo>
                <a:lnTo>
                  <a:pt x="359523" y="447396"/>
                </a:lnTo>
                <a:lnTo>
                  <a:pt x="306945" y="435847"/>
                </a:lnTo>
                <a:lnTo>
                  <a:pt x="257679" y="423069"/>
                </a:lnTo>
                <a:lnTo>
                  <a:pt x="211964" y="409135"/>
                </a:lnTo>
                <a:lnTo>
                  <a:pt x="170040" y="394120"/>
                </a:lnTo>
                <a:lnTo>
                  <a:pt x="132150" y="378095"/>
                </a:lnTo>
                <a:lnTo>
                  <a:pt x="69425" y="343314"/>
                </a:lnTo>
                <a:lnTo>
                  <a:pt x="25714" y="305377"/>
                </a:lnTo>
                <a:lnTo>
                  <a:pt x="2937" y="264872"/>
                </a:lnTo>
                <a:lnTo>
                  <a:pt x="0" y="243839"/>
                </a:lnTo>
                <a:lnTo>
                  <a:pt x="2937" y="222788"/>
                </a:lnTo>
                <a:lnTo>
                  <a:pt x="11588" y="202234"/>
                </a:lnTo>
                <a:lnTo>
                  <a:pt x="45073" y="162912"/>
                </a:lnTo>
                <a:lnTo>
                  <a:pt x="98531" y="126461"/>
                </a:lnTo>
                <a:lnTo>
                  <a:pt x="170040" y="93466"/>
                </a:lnTo>
                <a:lnTo>
                  <a:pt x="211964" y="78449"/>
                </a:lnTo>
                <a:lnTo>
                  <a:pt x="257679" y="64515"/>
                </a:lnTo>
                <a:lnTo>
                  <a:pt x="306945" y="51739"/>
                </a:lnTo>
                <a:lnTo>
                  <a:pt x="359523" y="40194"/>
                </a:lnTo>
                <a:lnTo>
                  <a:pt x="415172" y="29953"/>
                </a:lnTo>
                <a:lnTo>
                  <a:pt x="473652" y="21089"/>
                </a:lnTo>
                <a:lnTo>
                  <a:pt x="534722" y="13676"/>
                </a:lnTo>
                <a:lnTo>
                  <a:pt x="598142" y="7788"/>
                </a:lnTo>
                <a:lnTo>
                  <a:pt x="663672" y="3496"/>
                </a:lnTo>
                <a:lnTo>
                  <a:pt x="731071" y="876"/>
                </a:lnTo>
                <a:lnTo>
                  <a:pt x="800100" y="0"/>
                </a:lnTo>
                <a:lnTo>
                  <a:pt x="869128" y="894"/>
                </a:lnTo>
                <a:lnTo>
                  <a:pt x="936527" y="3529"/>
                </a:lnTo>
                <a:lnTo>
                  <a:pt x="1002057" y="7830"/>
                </a:lnTo>
                <a:lnTo>
                  <a:pt x="1065477" y="13726"/>
                </a:lnTo>
                <a:lnTo>
                  <a:pt x="1126547" y="21144"/>
                </a:lnTo>
                <a:lnTo>
                  <a:pt x="1185027" y="30009"/>
                </a:lnTo>
                <a:lnTo>
                  <a:pt x="1240676" y="40250"/>
                </a:lnTo>
                <a:lnTo>
                  <a:pt x="1293254" y="51793"/>
                </a:lnTo>
                <a:lnTo>
                  <a:pt x="1342520" y="64565"/>
                </a:lnTo>
                <a:lnTo>
                  <a:pt x="1388235" y="78494"/>
                </a:lnTo>
                <a:lnTo>
                  <a:pt x="1430159" y="93505"/>
                </a:lnTo>
                <a:lnTo>
                  <a:pt x="1468049" y="109528"/>
                </a:lnTo>
                <a:lnTo>
                  <a:pt x="1530774" y="144311"/>
                </a:lnTo>
                <a:lnTo>
                  <a:pt x="1574485" y="182259"/>
                </a:lnTo>
                <a:lnTo>
                  <a:pt x="1597262" y="222789"/>
                </a:lnTo>
                <a:lnTo>
                  <a:pt x="1600200" y="243839"/>
                </a:lnTo>
                <a:lnTo>
                  <a:pt x="1600200" y="1707134"/>
                </a:lnTo>
                <a:lnTo>
                  <a:pt x="1597262" y="1728166"/>
                </a:lnTo>
                <a:lnTo>
                  <a:pt x="1588611" y="1748703"/>
                </a:lnTo>
                <a:lnTo>
                  <a:pt x="1555126" y="1787997"/>
                </a:lnTo>
                <a:lnTo>
                  <a:pt x="1501668" y="1824430"/>
                </a:lnTo>
                <a:lnTo>
                  <a:pt x="1430159" y="1857414"/>
                </a:lnTo>
                <a:lnTo>
                  <a:pt x="1388235" y="1872429"/>
                </a:lnTo>
                <a:lnTo>
                  <a:pt x="1342520" y="1886363"/>
                </a:lnTo>
                <a:lnTo>
                  <a:pt x="1293254" y="1899141"/>
                </a:lnTo>
                <a:lnTo>
                  <a:pt x="1240676" y="1910690"/>
                </a:lnTo>
                <a:lnTo>
                  <a:pt x="1185027" y="1920938"/>
                </a:lnTo>
                <a:lnTo>
                  <a:pt x="1126547" y="1929810"/>
                </a:lnTo>
                <a:lnTo>
                  <a:pt x="1065477" y="1937233"/>
                </a:lnTo>
                <a:lnTo>
                  <a:pt x="1002057" y="1943135"/>
                </a:lnTo>
                <a:lnTo>
                  <a:pt x="936527" y="1947441"/>
                </a:lnTo>
                <a:lnTo>
                  <a:pt x="869128" y="1950078"/>
                </a:lnTo>
                <a:lnTo>
                  <a:pt x="800100" y="1950974"/>
                </a:lnTo>
                <a:lnTo>
                  <a:pt x="731071" y="1950078"/>
                </a:lnTo>
                <a:lnTo>
                  <a:pt x="663672" y="1947441"/>
                </a:lnTo>
                <a:lnTo>
                  <a:pt x="598142" y="1943135"/>
                </a:lnTo>
                <a:lnTo>
                  <a:pt x="534722" y="1937233"/>
                </a:lnTo>
                <a:lnTo>
                  <a:pt x="473652" y="1929810"/>
                </a:lnTo>
                <a:lnTo>
                  <a:pt x="415172" y="1920938"/>
                </a:lnTo>
                <a:lnTo>
                  <a:pt x="359523" y="1910690"/>
                </a:lnTo>
                <a:lnTo>
                  <a:pt x="306945" y="1899141"/>
                </a:lnTo>
                <a:lnTo>
                  <a:pt x="257679" y="1886363"/>
                </a:lnTo>
                <a:lnTo>
                  <a:pt x="211964" y="1872429"/>
                </a:lnTo>
                <a:lnTo>
                  <a:pt x="170040" y="1857414"/>
                </a:lnTo>
                <a:lnTo>
                  <a:pt x="132150" y="1841389"/>
                </a:lnTo>
                <a:lnTo>
                  <a:pt x="69425" y="1806608"/>
                </a:lnTo>
                <a:lnTo>
                  <a:pt x="25714" y="1768671"/>
                </a:lnTo>
                <a:lnTo>
                  <a:pt x="2937" y="1728166"/>
                </a:lnTo>
                <a:lnTo>
                  <a:pt x="0" y="1707134"/>
                </a:lnTo>
                <a:lnTo>
                  <a:pt x="0" y="24383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032375" y="2814634"/>
            <a:ext cx="1123315" cy="572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3300"/>
              </a:lnSpc>
            </a:pPr>
            <a:r>
              <a:rPr sz="1200" dirty="0">
                <a:latin typeface="Times New Roman"/>
                <a:cs typeface="Times New Roman"/>
              </a:rPr>
              <a:t>Customer : C2  </a:t>
            </a:r>
            <a:r>
              <a:rPr sz="1200" spc="-5" dirty="0">
                <a:latin typeface="Times New Roman"/>
                <a:cs typeface="Times New Roman"/>
              </a:rPr>
              <a:t>Material: </a:t>
            </a:r>
            <a:r>
              <a:rPr sz="1200" dirty="0">
                <a:latin typeface="Times New Roman"/>
                <a:cs typeface="Times New Roman"/>
              </a:rPr>
              <a:t>M3,</a:t>
            </a:r>
            <a:r>
              <a:rPr sz="1200" spc="-60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M4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12140" y="1385696"/>
            <a:ext cx="7451725" cy="243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372610" algn="l"/>
              </a:tabLst>
            </a:pPr>
            <a:r>
              <a:rPr sz="1600" b="1" spc="-5" dirty="0">
                <a:latin typeface="Times New Roman"/>
                <a:cs typeface="Times New Roman"/>
              </a:rPr>
              <a:t>Master data for</a:t>
            </a:r>
            <a:r>
              <a:rPr sz="1600" b="1" spc="5" dirty="0">
                <a:latin typeface="Times New Roman"/>
                <a:cs typeface="Times New Roman"/>
              </a:rPr>
              <a:t> </a:t>
            </a:r>
            <a:r>
              <a:rPr sz="1600" b="1" spc="-5" dirty="0">
                <a:latin typeface="Times New Roman"/>
                <a:cs typeface="Times New Roman"/>
              </a:rPr>
              <a:t>Material</a:t>
            </a:r>
            <a:r>
              <a:rPr sz="1600" b="1" spc="45" dirty="0">
                <a:latin typeface="Times New Roman"/>
                <a:cs typeface="Times New Roman"/>
              </a:rPr>
              <a:t> </a:t>
            </a:r>
            <a:r>
              <a:rPr sz="1600" b="1" spc="-5" dirty="0">
                <a:latin typeface="Times New Roman"/>
                <a:cs typeface="Times New Roman"/>
              </a:rPr>
              <a:t>Listing	Master data for Material</a:t>
            </a:r>
            <a:r>
              <a:rPr sz="1600" b="1" spc="5" dirty="0">
                <a:latin typeface="Times New Roman"/>
                <a:cs typeface="Times New Roman"/>
              </a:rPr>
              <a:t> </a:t>
            </a:r>
            <a:r>
              <a:rPr sz="1600" b="1" spc="-5" dirty="0">
                <a:latin typeface="Times New Roman"/>
                <a:cs typeface="Times New Roman"/>
              </a:rPr>
              <a:t>Exclusion</a:t>
            </a:r>
            <a:endParaRPr sz="1600">
              <a:latin typeface="Times New Roman"/>
              <a:cs typeface="Times New Roman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858000" y="2944748"/>
            <a:ext cx="457200" cy="244475"/>
          </a:xfrm>
          <a:custGeom>
            <a:avLst/>
            <a:gdLst/>
            <a:ahLst/>
            <a:cxnLst/>
            <a:rect l="l" t="t" r="r" b="b"/>
            <a:pathLst>
              <a:path w="457200" h="244475">
                <a:moveTo>
                  <a:pt x="342900" y="0"/>
                </a:moveTo>
                <a:lnTo>
                  <a:pt x="342900" y="61213"/>
                </a:lnTo>
                <a:lnTo>
                  <a:pt x="0" y="61213"/>
                </a:lnTo>
                <a:lnTo>
                  <a:pt x="0" y="183387"/>
                </a:lnTo>
                <a:lnTo>
                  <a:pt x="342900" y="183387"/>
                </a:lnTo>
                <a:lnTo>
                  <a:pt x="342900" y="244475"/>
                </a:lnTo>
                <a:lnTo>
                  <a:pt x="457200" y="122300"/>
                </a:lnTo>
                <a:lnTo>
                  <a:pt x="342900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858000" y="2944748"/>
            <a:ext cx="457200" cy="244475"/>
          </a:xfrm>
          <a:custGeom>
            <a:avLst/>
            <a:gdLst/>
            <a:ahLst/>
            <a:cxnLst/>
            <a:rect l="l" t="t" r="r" b="b"/>
            <a:pathLst>
              <a:path w="457200" h="244475">
                <a:moveTo>
                  <a:pt x="0" y="61213"/>
                </a:moveTo>
                <a:lnTo>
                  <a:pt x="342900" y="61213"/>
                </a:lnTo>
                <a:lnTo>
                  <a:pt x="342900" y="0"/>
                </a:lnTo>
                <a:lnTo>
                  <a:pt x="457200" y="122300"/>
                </a:lnTo>
                <a:lnTo>
                  <a:pt x="342900" y="244475"/>
                </a:lnTo>
                <a:lnTo>
                  <a:pt x="342900" y="183387"/>
                </a:lnTo>
                <a:lnTo>
                  <a:pt x="0" y="183387"/>
                </a:lnTo>
                <a:lnTo>
                  <a:pt x="0" y="6121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543800" y="2087626"/>
            <a:ext cx="1219200" cy="183667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610600" y="3771900"/>
            <a:ext cx="152400" cy="1524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543800" y="2087626"/>
            <a:ext cx="1219200" cy="1837055"/>
          </a:xfrm>
          <a:custGeom>
            <a:avLst/>
            <a:gdLst/>
            <a:ahLst/>
            <a:cxnLst/>
            <a:rect l="l" t="t" r="r" b="b"/>
            <a:pathLst>
              <a:path w="1219200" h="1837054">
                <a:moveTo>
                  <a:pt x="1066800" y="1836674"/>
                </a:moveTo>
                <a:lnTo>
                  <a:pt x="1097279" y="1714754"/>
                </a:lnTo>
                <a:lnTo>
                  <a:pt x="1219200" y="1684274"/>
                </a:lnTo>
                <a:lnTo>
                  <a:pt x="1066800" y="1836674"/>
                </a:lnTo>
                <a:lnTo>
                  <a:pt x="0" y="1836674"/>
                </a:lnTo>
                <a:lnTo>
                  <a:pt x="0" y="0"/>
                </a:lnTo>
                <a:lnTo>
                  <a:pt x="1219200" y="0"/>
                </a:lnTo>
                <a:lnTo>
                  <a:pt x="1219200" y="16842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7623809" y="2544317"/>
            <a:ext cx="903605" cy="7740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Sold-to party:</a:t>
            </a:r>
            <a:r>
              <a:rPr sz="1000" spc="-6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C1  </a:t>
            </a:r>
            <a:r>
              <a:rPr sz="1000" spc="-10" dirty="0">
                <a:latin typeface="Times New Roman"/>
                <a:cs typeface="Times New Roman"/>
              </a:rPr>
              <a:t>Item:</a:t>
            </a:r>
            <a:r>
              <a:rPr sz="1000" spc="-65" dirty="0">
                <a:latin typeface="Times New Roman"/>
                <a:cs typeface="Times New Roman"/>
              </a:rPr>
              <a:t> </a:t>
            </a:r>
            <a:r>
              <a:rPr sz="1000" spc="-5" dirty="0">
                <a:latin typeface="Times New Roman"/>
                <a:cs typeface="Times New Roman"/>
              </a:rPr>
              <a:t>M1</a:t>
            </a:r>
            <a:endParaRPr sz="1000">
              <a:latin typeface="Times New Roman"/>
              <a:cs typeface="Times New Roman"/>
            </a:endParaRPr>
          </a:p>
          <a:p>
            <a:pPr marL="295910" marR="422909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M2  M3</a:t>
            </a:r>
            <a:endParaRPr sz="1000">
              <a:latin typeface="Times New Roman"/>
              <a:cs typeface="Times New Roman"/>
            </a:endParaRPr>
          </a:p>
          <a:p>
            <a:pPr marL="295910">
              <a:lnSpc>
                <a:spcPct val="100000"/>
              </a:lnSpc>
            </a:pPr>
            <a:r>
              <a:rPr sz="1000" spc="-5" dirty="0">
                <a:latin typeface="Times New Roman"/>
                <a:cs typeface="Times New Roman"/>
              </a:rPr>
              <a:t>M$</a:t>
            </a:r>
            <a:endParaRPr sz="10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522976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Condition</a:t>
            </a:r>
            <a:r>
              <a:rPr spc="-75" dirty="0"/>
              <a:t> </a:t>
            </a:r>
            <a:r>
              <a:rPr spc="-35" dirty="0"/>
              <a:t>Technique</a:t>
            </a:r>
          </a:p>
        </p:txBody>
      </p:sp>
      <p:sp>
        <p:nvSpPr>
          <p:cNvPr id="5" name="object 5"/>
          <p:cNvSpPr/>
          <p:nvPr/>
        </p:nvSpPr>
        <p:spPr>
          <a:xfrm>
            <a:off x="297179" y="1181100"/>
            <a:ext cx="7904988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40080" y="1455419"/>
            <a:ext cx="5733288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28944" y="1455419"/>
            <a:ext cx="413003" cy="4206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097523" y="1455419"/>
            <a:ext cx="414527" cy="4206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44500" y="1292605"/>
            <a:ext cx="7510780" cy="548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ts val="2160"/>
              </a:lnSpc>
            </a:pPr>
            <a:r>
              <a:rPr sz="2000" dirty="0">
                <a:latin typeface="Arial"/>
                <a:cs typeface="Arial"/>
              </a:rPr>
              <a:t>Pricing is automatically determined during sales processing.</a:t>
            </a:r>
            <a:r>
              <a:rPr sz="2000" spc="-170" dirty="0">
                <a:latin typeface="Arial"/>
                <a:cs typeface="Arial"/>
              </a:rPr>
              <a:t> </a:t>
            </a:r>
            <a:r>
              <a:rPr sz="2000" spc="-10" dirty="0">
                <a:latin typeface="Arial"/>
                <a:cs typeface="Arial"/>
              </a:rPr>
              <a:t>SAP’s  </a:t>
            </a:r>
            <a:r>
              <a:rPr sz="2000" dirty="0">
                <a:latin typeface="Arial"/>
                <a:cs typeface="Arial"/>
              </a:rPr>
              <a:t>Condition </a:t>
            </a:r>
            <a:r>
              <a:rPr sz="2000" spc="-25" dirty="0">
                <a:latin typeface="Arial"/>
                <a:cs typeface="Arial"/>
              </a:rPr>
              <a:t>Technique </a:t>
            </a:r>
            <a:r>
              <a:rPr sz="2000" dirty="0">
                <a:latin typeface="Arial"/>
                <a:cs typeface="Arial"/>
              </a:rPr>
              <a:t>method helps in doing</a:t>
            </a:r>
            <a:r>
              <a:rPr sz="2000" spc="-130" dirty="0">
                <a:latin typeface="Arial"/>
                <a:cs typeface="Arial"/>
              </a:rPr>
              <a:t> </a:t>
            </a:r>
            <a:r>
              <a:rPr sz="2000" spc="-5" dirty="0">
                <a:latin typeface="Arial"/>
                <a:cs typeface="Arial"/>
              </a:rPr>
              <a:t>this.</a:t>
            </a:r>
            <a:endParaRPr sz="20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85800" y="2133600"/>
            <a:ext cx="4572000" cy="41148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85800" y="2133600"/>
            <a:ext cx="4572000" cy="4114800"/>
          </a:xfrm>
          <a:custGeom>
            <a:avLst/>
            <a:gdLst/>
            <a:ahLst/>
            <a:cxnLst/>
            <a:rect l="l" t="t" r="r" b="b"/>
            <a:pathLst>
              <a:path w="4572000" h="4114800">
                <a:moveTo>
                  <a:pt x="0" y="4114800"/>
                </a:moveTo>
                <a:lnTo>
                  <a:pt x="4572000" y="4114800"/>
                </a:lnTo>
                <a:lnTo>
                  <a:pt x="4572000" y="0"/>
                </a:lnTo>
                <a:lnTo>
                  <a:pt x="0" y="0"/>
                </a:lnTo>
                <a:lnTo>
                  <a:pt x="0" y="4114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548376" y="2234224"/>
            <a:ext cx="2778760" cy="5238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100"/>
              </a:lnSpc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condition technique includes  condition tables, access</a:t>
            </a:r>
            <a:r>
              <a:rPr sz="1400" spc="-1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quence,  condition </a:t>
            </a:r>
            <a:r>
              <a:rPr sz="1400" spc="-5" dirty="0">
                <a:latin typeface="Arial"/>
                <a:cs typeface="Arial"/>
              </a:rPr>
              <a:t>type </a:t>
            </a:r>
            <a:r>
              <a:rPr sz="1400" dirty="0">
                <a:latin typeface="Arial"/>
                <a:cs typeface="Arial"/>
              </a:rPr>
              <a:t>&amp;</a:t>
            </a:r>
            <a:r>
              <a:rPr sz="1400" spc="-1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548376" y="3001771"/>
            <a:ext cx="3108960" cy="3536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340"/>
              </a:lnSpc>
            </a:pPr>
            <a:r>
              <a:rPr sz="1400" b="1" spc="-5" dirty="0">
                <a:latin typeface="Arial"/>
                <a:cs typeface="Arial"/>
              </a:rPr>
              <a:t>Condition </a:t>
            </a:r>
            <a:r>
              <a:rPr sz="1400" b="1" spc="-15" dirty="0">
                <a:latin typeface="Arial"/>
                <a:cs typeface="Arial"/>
              </a:rPr>
              <a:t>type </a:t>
            </a:r>
            <a:r>
              <a:rPr sz="1400" dirty="0">
                <a:latin typeface="Arial"/>
                <a:cs typeface="Arial"/>
              </a:rPr>
              <a:t>is a characteristic of a  condition (e.g. price, </a:t>
            </a:r>
            <a:r>
              <a:rPr sz="1400" spc="-5" dirty="0">
                <a:latin typeface="Arial"/>
                <a:cs typeface="Arial"/>
              </a:rPr>
              <a:t>tax, </a:t>
            </a:r>
            <a:r>
              <a:rPr sz="1400" dirty="0">
                <a:latin typeface="Arial"/>
                <a:cs typeface="Arial"/>
              </a:rPr>
              <a:t>discount,</a:t>
            </a:r>
            <a:r>
              <a:rPr sz="1400" spc="-204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tc.)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548376" y="3556508"/>
            <a:ext cx="3077210" cy="3536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340"/>
              </a:lnSpc>
            </a:pPr>
            <a:r>
              <a:rPr sz="1400" b="1" spc="-5" dirty="0">
                <a:latin typeface="Arial"/>
                <a:cs typeface="Arial"/>
              </a:rPr>
              <a:t>Condition </a:t>
            </a:r>
            <a:r>
              <a:rPr sz="1400" b="1" dirty="0">
                <a:latin typeface="Arial"/>
                <a:cs typeface="Arial"/>
              </a:rPr>
              <a:t>tables </a:t>
            </a:r>
            <a:r>
              <a:rPr sz="1400" dirty="0">
                <a:latin typeface="Arial"/>
                <a:cs typeface="Arial"/>
              </a:rPr>
              <a:t>contain key fields</a:t>
            </a:r>
            <a:r>
              <a:rPr sz="1400" spc="-2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  </a:t>
            </a:r>
            <a:r>
              <a:rPr sz="1400" spc="-5" dirty="0">
                <a:latin typeface="Arial"/>
                <a:cs typeface="Arial"/>
              </a:rPr>
              <a:t>which </a:t>
            </a:r>
            <a:r>
              <a:rPr sz="1400" dirty="0">
                <a:latin typeface="Arial"/>
                <a:cs typeface="Arial"/>
              </a:rPr>
              <a:t>conditions records are</a:t>
            </a:r>
            <a:r>
              <a:rPr sz="1400" spc="-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rea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548376" y="4155185"/>
            <a:ext cx="3075305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000"/>
              </a:lnSpc>
            </a:pPr>
            <a:r>
              <a:rPr sz="1400" b="1" spc="-10" dirty="0">
                <a:latin typeface="Arial"/>
                <a:cs typeface="Arial"/>
              </a:rPr>
              <a:t>Access </a:t>
            </a:r>
            <a:r>
              <a:rPr sz="1400" b="1" spc="-5" dirty="0">
                <a:latin typeface="Arial"/>
                <a:cs typeface="Arial"/>
              </a:rPr>
              <a:t>sequence </a:t>
            </a:r>
            <a:r>
              <a:rPr sz="1400" dirty="0">
                <a:latin typeface="Arial"/>
                <a:cs typeface="Arial"/>
              </a:rPr>
              <a:t>defines the order</a:t>
            </a:r>
            <a:r>
              <a:rPr sz="1400" spc="-1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  </a:t>
            </a:r>
            <a:r>
              <a:rPr sz="1400" spc="-5" dirty="0">
                <a:latin typeface="Arial"/>
                <a:cs typeface="Arial"/>
              </a:rPr>
              <a:t>which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system </a:t>
            </a:r>
            <a:r>
              <a:rPr sz="1400" dirty="0">
                <a:latin typeface="Arial"/>
                <a:cs typeface="Arial"/>
              </a:rPr>
              <a:t>searches for  condition records. </a:t>
            </a: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access  sequence consists of one or more  </a:t>
            </a:r>
            <a:r>
              <a:rPr sz="1400" spc="-5" dirty="0">
                <a:latin typeface="Arial"/>
                <a:cs typeface="Arial"/>
              </a:rPr>
              <a:t>accesses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548376" y="5221985"/>
            <a:ext cx="3019425" cy="1035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8125">
              <a:lnSpc>
                <a:spcPct val="80000"/>
              </a:lnSpc>
            </a:pPr>
            <a:r>
              <a:rPr sz="1400" b="1" dirty="0">
                <a:latin typeface="Arial"/>
                <a:cs typeface="Arial"/>
              </a:rPr>
              <a:t>Pricing </a:t>
            </a:r>
            <a:r>
              <a:rPr sz="1400" b="1" spc="-5" dirty="0">
                <a:latin typeface="Arial"/>
                <a:cs typeface="Arial"/>
              </a:rPr>
              <a:t>Procedure </a:t>
            </a:r>
            <a:r>
              <a:rPr sz="1400" dirty="0">
                <a:latin typeface="Arial"/>
                <a:cs typeface="Arial"/>
              </a:rPr>
              <a:t>(also </a:t>
            </a:r>
            <a:r>
              <a:rPr sz="1400" spc="-5" dirty="0">
                <a:latin typeface="Arial"/>
                <a:cs typeface="Arial"/>
              </a:rPr>
              <a:t>known</a:t>
            </a:r>
            <a:r>
              <a:rPr sz="1400" spc="-1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s  Calculation Schema in some</a:t>
            </a:r>
            <a:r>
              <a:rPr sz="1400" spc="-18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AP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80000"/>
              </a:lnSpc>
            </a:pPr>
            <a:r>
              <a:rPr sz="1400" dirty="0">
                <a:latin typeface="Arial"/>
                <a:cs typeface="Arial"/>
              </a:rPr>
              <a:t>solutions) defines the conditions  permitted and the sequence in </a:t>
            </a:r>
            <a:r>
              <a:rPr sz="1400" spc="-5" dirty="0">
                <a:latin typeface="Arial"/>
                <a:cs typeface="Arial"/>
              </a:rPr>
              <a:t>which 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system </a:t>
            </a:r>
            <a:r>
              <a:rPr sz="1400" dirty="0">
                <a:latin typeface="Arial"/>
                <a:cs typeface="Arial"/>
              </a:rPr>
              <a:t>takes these conditions</a:t>
            </a:r>
            <a:r>
              <a:rPr sz="1400" spc="-204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to  account during sales</a:t>
            </a:r>
            <a:r>
              <a:rPr sz="1400" spc="-1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ss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657600" y="2362200"/>
            <a:ext cx="1447800" cy="1371600"/>
          </a:xfrm>
          <a:custGeom>
            <a:avLst/>
            <a:gdLst/>
            <a:ahLst/>
            <a:cxnLst/>
            <a:rect l="l" t="t" r="r" b="b"/>
            <a:pathLst>
              <a:path w="1447800" h="1371600">
                <a:moveTo>
                  <a:pt x="1276350" y="1371600"/>
                </a:moveTo>
                <a:lnTo>
                  <a:pt x="1310639" y="1234439"/>
                </a:lnTo>
                <a:lnTo>
                  <a:pt x="1447800" y="1200150"/>
                </a:lnTo>
                <a:lnTo>
                  <a:pt x="1276350" y="1371600"/>
                </a:lnTo>
                <a:lnTo>
                  <a:pt x="0" y="1371600"/>
                </a:lnTo>
                <a:lnTo>
                  <a:pt x="0" y="0"/>
                </a:lnTo>
                <a:lnTo>
                  <a:pt x="1447800" y="0"/>
                </a:lnTo>
                <a:lnTo>
                  <a:pt x="1447800" y="12001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590800" y="5943600"/>
            <a:ext cx="1981200" cy="0"/>
          </a:xfrm>
          <a:custGeom>
            <a:avLst/>
            <a:gdLst/>
            <a:ahLst/>
            <a:cxnLst/>
            <a:rect l="l" t="t" r="r" b="b"/>
            <a:pathLst>
              <a:path w="1981200">
                <a:moveTo>
                  <a:pt x="0" y="0"/>
                </a:moveTo>
                <a:lnTo>
                  <a:pt x="19812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834894" y="3366642"/>
            <a:ext cx="507365" cy="6076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sz="1600" spc="-5" dirty="0">
                <a:latin typeface="Arial"/>
                <a:cs typeface="Arial"/>
              </a:rPr>
              <a:t>PR00  PR02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06144" y="3366642"/>
            <a:ext cx="1623695" cy="9124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sz="1600" spc="-5" dirty="0">
                <a:latin typeface="Arial"/>
                <a:cs typeface="Arial"/>
              </a:rPr>
              <a:t>Condition </a:t>
            </a:r>
            <a:r>
              <a:rPr sz="1600" spc="-30" dirty="0">
                <a:latin typeface="Arial"/>
                <a:cs typeface="Arial"/>
              </a:rPr>
              <a:t>Type  </a:t>
            </a:r>
            <a:r>
              <a:rPr sz="1600" spc="-5" dirty="0">
                <a:latin typeface="Arial"/>
                <a:cs typeface="Arial"/>
              </a:rPr>
              <a:t>Access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quence  Condition</a:t>
            </a:r>
            <a:r>
              <a:rPr sz="1600" spc="-110" dirty="0">
                <a:latin typeface="Arial"/>
                <a:cs typeface="Arial"/>
              </a:rPr>
              <a:t> </a:t>
            </a:r>
            <a:r>
              <a:rPr sz="1600" spc="-35" dirty="0">
                <a:latin typeface="Arial"/>
                <a:cs typeface="Arial"/>
              </a:rPr>
              <a:t>Tabl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15593" y="4444745"/>
            <a:ext cx="2472690" cy="10541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18795" indent="-342900">
              <a:lnSpc>
                <a:spcPct val="100000"/>
              </a:lnSpc>
              <a:buAutoNum type="arabicPeriod"/>
              <a:tabLst>
                <a:tab pos="518795" algn="l"/>
                <a:tab pos="519430" algn="l"/>
              </a:tabLst>
            </a:pPr>
            <a:r>
              <a:rPr sz="1400" spc="-5" dirty="0">
                <a:latin typeface="Arial"/>
                <a:cs typeface="Arial"/>
              </a:rPr>
              <a:t>Customer/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aterial</a:t>
            </a:r>
            <a:endParaRPr sz="1400">
              <a:latin typeface="Arial"/>
              <a:cs typeface="Arial"/>
            </a:endParaRPr>
          </a:p>
          <a:p>
            <a:pPr marL="518795" indent="-342900">
              <a:lnSpc>
                <a:spcPct val="100000"/>
              </a:lnSpc>
              <a:buAutoNum type="arabicPeriod"/>
              <a:tabLst>
                <a:tab pos="518795" algn="l"/>
                <a:tab pos="519430" algn="l"/>
              </a:tabLst>
            </a:pPr>
            <a:r>
              <a:rPr sz="1400" spc="-5" dirty="0">
                <a:latin typeface="Arial"/>
                <a:cs typeface="Arial"/>
              </a:rPr>
              <a:t>Customer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roup/Material</a:t>
            </a:r>
            <a:endParaRPr sz="1400">
              <a:latin typeface="Arial"/>
              <a:cs typeface="Arial"/>
            </a:endParaRPr>
          </a:p>
          <a:p>
            <a:pPr marL="518795" indent="-342900">
              <a:lnSpc>
                <a:spcPct val="100000"/>
              </a:lnSpc>
              <a:buAutoNum type="arabicPeriod"/>
              <a:tabLst>
                <a:tab pos="518795" algn="l"/>
                <a:tab pos="519430" algn="l"/>
              </a:tabLst>
            </a:pPr>
            <a:r>
              <a:rPr sz="1400" spc="-5" dirty="0">
                <a:latin typeface="Arial"/>
                <a:cs typeface="Arial"/>
              </a:rPr>
              <a:t>Customer/Material</a:t>
            </a:r>
            <a:r>
              <a:rPr sz="1400" spc="-9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roup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150">
              <a:latin typeface="Times New Roman"/>
              <a:cs typeface="Times New Roman"/>
            </a:endParaRPr>
          </a:p>
          <a:p>
            <a:pPr>
              <a:lnSpc>
                <a:spcPts val="1905"/>
              </a:lnSpc>
              <a:tabLst>
                <a:tab pos="1828800" algn="l"/>
              </a:tabLst>
            </a:pPr>
            <a:r>
              <a:rPr sz="1600" spc="-5" dirty="0">
                <a:latin typeface="Arial"/>
                <a:cs typeface="Arial"/>
              </a:rPr>
              <a:t>Condition</a:t>
            </a:r>
            <a:r>
              <a:rPr sz="1600" spc="-1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record	PR00</a:t>
            </a:r>
            <a:endParaRPr sz="16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06144" y="5832550"/>
            <a:ext cx="1426845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spc="-25" dirty="0">
                <a:latin typeface="Arial"/>
                <a:cs typeface="Arial"/>
              </a:rPr>
              <a:t>Valid </a:t>
            </a:r>
            <a:r>
              <a:rPr sz="1400" dirty="0">
                <a:latin typeface="Arial"/>
                <a:cs typeface="Arial"/>
              </a:rPr>
              <a:t>record</a:t>
            </a:r>
            <a:r>
              <a:rPr sz="1400" spc="-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und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989990" y="2235200"/>
            <a:ext cx="1611630" cy="1051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Pricing</a:t>
            </a:r>
            <a:r>
              <a:rPr sz="1600" spc="-6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  <a:p>
            <a:pPr marL="244475">
              <a:lnSpc>
                <a:spcPct val="100000"/>
              </a:lnSpc>
              <a:spcBef>
                <a:spcPts val="610"/>
              </a:spcBef>
            </a:pPr>
            <a:r>
              <a:rPr sz="1200" dirty="0">
                <a:latin typeface="Arial"/>
                <a:cs typeface="Arial"/>
              </a:rPr>
              <a:t>1.</a:t>
            </a:r>
            <a:endParaRPr sz="1200">
              <a:latin typeface="Arial"/>
              <a:cs typeface="Arial"/>
            </a:endParaRPr>
          </a:p>
          <a:p>
            <a:pPr marL="244475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2.</a:t>
            </a:r>
            <a:endParaRPr sz="1200">
              <a:latin typeface="Arial"/>
              <a:cs typeface="Arial"/>
            </a:endParaRPr>
          </a:p>
          <a:p>
            <a:pPr marL="244475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3.</a:t>
            </a:r>
            <a:endParaRPr sz="1200">
              <a:latin typeface="Arial"/>
              <a:cs typeface="Arial"/>
            </a:endParaRPr>
          </a:p>
          <a:p>
            <a:pPr marL="244475">
              <a:lnSpc>
                <a:spcPts val="1430"/>
              </a:lnSpc>
            </a:pPr>
            <a:r>
              <a:rPr sz="1200" dirty="0">
                <a:latin typeface="Arial"/>
                <a:cs typeface="Arial"/>
              </a:rPr>
              <a:t>4.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577594" y="2556383"/>
            <a:ext cx="471170" cy="730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PR00  K004  </a:t>
            </a:r>
            <a:r>
              <a:rPr sz="1200" dirty="0">
                <a:latin typeface="Arial"/>
                <a:cs typeface="Arial"/>
              </a:rPr>
              <a:t>KF00  </a:t>
            </a:r>
            <a:r>
              <a:rPr sz="1200" spc="-5" dirty="0">
                <a:latin typeface="Arial"/>
                <a:cs typeface="Arial"/>
              </a:rPr>
              <a:t>M</a:t>
            </a:r>
            <a:r>
              <a:rPr sz="1200" spc="40" dirty="0">
                <a:latin typeface="Arial"/>
                <a:cs typeface="Arial"/>
              </a:rPr>
              <a:t>W</a:t>
            </a:r>
            <a:r>
              <a:rPr sz="1200" dirty="0">
                <a:latin typeface="Arial"/>
                <a:cs typeface="Arial"/>
              </a:rPr>
              <a:t>ST</a:t>
            </a:r>
            <a:endParaRPr sz="12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149094" y="2556383"/>
            <a:ext cx="702310" cy="730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Price  Discount  Freight  </a:t>
            </a:r>
            <a:r>
              <a:rPr sz="1200" dirty="0">
                <a:latin typeface="Arial"/>
                <a:cs typeface="Arial"/>
              </a:rPr>
              <a:t>Output</a:t>
            </a:r>
            <a:r>
              <a:rPr sz="1200" spc="-12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tax</a:t>
            </a:r>
            <a:endParaRPr sz="12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733800" y="2413889"/>
            <a:ext cx="948055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dirty="0">
                <a:latin typeface="Arial"/>
                <a:cs typeface="Arial"/>
              </a:rPr>
              <a:t>Sales</a:t>
            </a:r>
            <a:r>
              <a:rPr sz="1400" spc="-114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rd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825875" y="2860166"/>
            <a:ext cx="887094" cy="8521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PR00  </a:t>
            </a:r>
            <a:r>
              <a:rPr sz="1400" dirty="0">
                <a:latin typeface="Arial"/>
                <a:cs typeface="Arial"/>
              </a:rPr>
              <a:t>$</a:t>
            </a:r>
            <a:r>
              <a:rPr sz="1400" spc="-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0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840"/>
              </a:spcBef>
            </a:pPr>
            <a:r>
              <a:rPr sz="1400" spc="-5" dirty="0">
                <a:latin typeface="Arial"/>
                <a:cs typeface="Arial"/>
              </a:rPr>
              <a:t>--------------</a:t>
            </a:r>
            <a:endParaRPr sz="1400">
              <a:latin typeface="Arial"/>
              <a:cs typeface="Arial"/>
            </a:endParaRPr>
          </a:p>
          <a:p>
            <a:pPr>
              <a:lnSpc>
                <a:spcPts val="1664"/>
              </a:lnSpc>
              <a:spcBef>
                <a:spcPts val="840"/>
              </a:spcBef>
            </a:pPr>
            <a:r>
              <a:rPr sz="1400" spc="-5" dirty="0">
                <a:latin typeface="Arial"/>
                <a:cs typeface="Arial"/>
              </a:rPr>
              <a:t>--------------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529073" y="3810000"/>
            <a:ext cx="85725" cy="2133600"/>
          </a:xfrm>
          <a:custGeom>
            <a:avLst/>
            <a:gdLst/>
            <a:ahLst/>
            <a:cxnLst/>
            <a:rect l="l" t="t" r="r" b="b"/>
            <a:pathLst>
              <a:path w="85725" h="2133600">
                <a:moveTo>
                  <a:pt x="57150" y="71374"/>
                </a:moveTo>
                <a:lnTo>
                  <a:pt x="28575" y="71374"/>
                </a:lnTo>
                <a:lnTo>
                  <a:pt x="28575" y="2133600"/>
                </a:lnTo>
                <a:lnTo>
                  <a:pt x="57150" y="2133600"/>
                </a:lnTo>
                <a:lnTo>
                  <a:pt x="57150" y="71374"/>
                </a:lnTo>
                <a:close/>
              </a:path>
              <a:path w="85725" h="2133600">
                <a:moveTo>
                  <a:pt x="42925" y="0"/>
                </a:moveTo>
                <a:lnTo>
                  <a:pt x="0" y="85725"/>
                </a:lnTo>
                <a:lnTo>
                  <a:pt x="28575" y="85725"/>
                </a:lnTo>
                <a:lnTo>
                  <a:pt x="28575" y="71374"/>
                </a:lnTo>
                <a:lnTo>
                  <a:pt x="78560" y="71374"/>
                </a:lnTo>
                <a:lnTo>
                  <a:pt x="42925" y="0"/>
                </a:lnTo>
                <a:close/>
              </a:path>
              <a:path w="85725" h="2133600">
                <a:moveTo>
                  <a:pt x="78560" y="71374"/>
                </a:moveTo>
                <a:lnTo>
                  <a:pt x="57150" y="71374"/>
                </a:lnTo>
                <a:lnTo>
                  <a:pt x="57150" y="85725"/>
                </a:lnTo>
                <a:lnTo>
                  <a:pt x="85725" y="85725"/>
                </a:lnTo>
                <a:lnTo>
                  <a:pt x="78560" y="713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7850123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Condition </a:t>
            </a:r>
            <a:r>
              <a:rPr spc="-35" dirty="0"/>
              <a:t>Technique</a:t>
            </a:r>
            <a:r>
              <a:rPr spc="-60" dirty="0"/>
              <a:t> </a:t>
            </a:r>
            <a:r>
              <a:rPr spc="-5" dirty="0"/>
              <a:t>(Cont-d)</a:t>
            </a:r>
          </a:p>
        </p:txBody>
      </p:sp>
      <p:sp>
        <p:nvSpPr>
          <p:cNvPr id="8" name="object 8"/>
          <p:cNvSpPr txBox="1">
            <a:spLocks noGrp="1"/>
          </p:cNvSpPr>
          <p:nvPr>
            <p:ph idx="1"/>
          </p:nvPr>
        </p:nvSpPr>
        <p:spPr>
          <a:xfrm>
            <a:off x="533400" y="1262739"/>
            <a:ext cx="8203691" cy="4802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3815">
              <a:lnSpc>
                <a:spcPct val="100000"/>
              </a:lnSpc>
            </a:pPr>
            <a:r>
              <a:rPr sz="1600" spc="-5" dirty="0"/>
              <a:t>The </a:t>
            </a:r>
            <a:r>
              <a:rPr sz="1600" dirty="0"/>
              <a:t>sequence of </a:t>
            </a:r>
            <a:r>
              <a:rPr sz="1600" spc="-5" dirty="0"/>
              <a:t>activities </a:t>
            </a:r>
            <a:r>
              <a:rPr sz="1600" dirty="0"/>
              <a:t>in configuring Pricing using Condition </a:t>
            </a:r>
            <a:r>
              <a:rPr sz="1600" spc="-20" dirty="0"/>
              <a:t>Technique </a:t>
            </a:r>
            <a:r>
              <a:rPr sz="1600" dirty="0"/>
              <a:t>is generally as</a:t>
            </a:r>
            <a:r>
              <a:rPr sz="1600" spc="-250" dirty="0"/>
              <a:t> </a:t>
            </a:r>
            <a:r>
              <a:rPr sz="1600" spc="-5" dirty="0"/>
              <a:t>follows:</a:t>
            </a:r>
          </a:p>
          <a:p>
            <a:pPr marL="386715" marR="396875" indent="-343535">
              <a:lnSpc>
                <a:spcPts val="1340"/>
              </a:lnSpc>
              <a:spcBef>
                <a:spcPts val="325"/>
              </a:spcBef>
              <a:tabLst>
                <a:tab pos="387350" algn="l"/>
              </a:tabLst>
            </a:pPr>
            <a:r>
              <a:rPr sz="1600" spc="-5" dirty="0"/>
              <a:t>1)	</a:t>
            </a:r>
            <a:r>
              <a:rPr sz="1600" dirty="0"/>
              <a:t>Define</a:t>
            </a:r>
            <a:r>
              <a:rPr sz="1600" spc="-30" dirty="0"/>
              <a:t> </a:t>
            </a:r>
            <a:r>
              <a:rPr sz="1600" dirty="0"/>
              <a:t>the</a:t>
            </a:r>
            <a:r>
              <a:rPr sz="1600" spc="-30" dirty="0"/>
              <a:t> </a:t>
            </a:r>
            <a:r>
              <a:rPr sz="1600" dirty="0">
                <a:solidFill>
                  <a:srgbClr val="252599"/>
                </a:solidFill>
              </a:rPr>
              <a:t>condition</a:t>
            </a:r>
            <a:r>
              <a:rPr sz="1600" spc="-45" dirty="0">
                <a:solidFill>
                  <a:srgbClr val="252599"/>
                </a:solidFill>
              </a:rPr>
              <a:t> </a:t>
            </a:r>
            <a:r>
              <a:rPr sz="1600" dirty="0">
                <a:solidFill>
                  <a:srgbClr val="252599"/>
                </a:solidFill>
              </a:rPr>
              <a:t>tables</a:t>
            </a:r>
            <a:r>
              <a:rPr sz="1600" spc="-20" dirty="0">
                <a:solidFill>
                  <a:srgbClr val="252599"/>
                </a:solidFill>
              </a:rPr>
              <a:t> </a:t>
            </a:r>
            <a:r>
              <a:rPr sz="1600" dirty="0"/>
              <a:t>that</a:t>
            </a:r>
            <a:r>
              <a:rPr sz="1600" spc="-30" dirty="0"/>
              <a:t> </a:t>
            </a:r>
            <a:r>
              <a:rPr sz="1600" dirty="0"/>
              <a:t>enable</a:t>
            </a:r>
            <a:r>
              <a:rPr sz="1600" spc="-35" dirty="0"/>
              <a:t> </a:t>
            </a:r>
            <a:r>
              <a:rPr sz="1600" spc="-5" dirty="0"/>
              <a:t>you</a:t>
            </a:r>
            <a:r>
              <a:rPr sz="1600" dirty="0"/>
              <a:t> to</a:t>
            </a:r>
            <a:r>
              <a:rPr sz="1600" spc="-20" dirty="0"/>
              <a:t> </a:t>
            </a:r>
            <a:r>
              <a:rPr sz="1600" dirty="0"/>
              <a:t>store</a:t>
            </a:r>
            <a:r>
              <a:rPr sz="1600" spc="-30" dirty="0"/>
              <a:t> </a:t>
            </a:r>
            <a:r>
              <a:rPr sz="1600" dirty="0"/>
              <a:t>and</a:t>
            </a:r>
            <a:r>
              <a:rPr sz="1600" spc="-20" dirty="0"/>
              <a:t> </a:t>
            </a:r>
            <a:r>
              <a:rPr sz="1600" spc="-5" dirty="0"/>
              <a:t>retrieve</a:t>
            </a:r>
            <a:r>
              <a:rPr sz="1600" spc="-20" dirty="0"/>
              <a:t> </a:t>
            </a:r>
            <a:r>
              <a:rPr sz="1600" dirty="0"/>
              <a:t>condition</a:t>
            </a:r>
            <a:r>
              <a:rPr sz="1600" spc="-45" dirty="0"/>
              <a:t> </a:t>
            </a:r>
            <a:r>
              <a:rPr sz="1600" dirty="0"/>
              <a:t>records</a:t>
            </a:r>
            <a:r>
              <a:rPr sz="1600" spc="-40" dirty="0"/>
              <a:t> </a:t>
            </a:r>
            <a:r>
              <a:rPr sz="1600" dirty="0"/>
              <a:t>for</a:t>
            </a:r>
            <a:r>
              <a:rPr sz="1600" spc="-30" dirty="0"/>
              <a:t> </a:t>
            </a:r>
            <a:r>
              <a:rPr sz="1600" dirty="0"/>
              <a:t>each</a:t>
            </a:r>
            <a:r>
              <a:rPr sz="1600" spc="-20" dirty="0"/>
              <a:t> </a:t>
            </a:r>
            <a:r>
              <a:rPr sz="1600" dirty="0"/>
              <a:t>of</a:t>
            </a:r>
            <a:r>
              <a:rPr sz="1600" spc="-15" dirty="0"/>
              <a:t> </a:t>
            </a:r>
            <a:r>
              <a:rPr sz="1600" dirty="0"/>
              <a:t>the  </a:t>
            </a:r>
            <a:r>
              <a:rPr sz="1600" spc="-5" dirty="0"/>
              <a:t>different </a:t>
            </a:r>
            <a:r>
              <a:rPr sz="1600" dirty="0"/>
              <a:t>condition</a:t>
            </a:r>
            <a:r>
              <a:rPr sz="1600" spc="-135" dirty="0"/>
              <a:t> </a:t>
            </a:r>
            <a:r>
              <a:rPr sz="1600" spc="-5" dirty="0"/>
              <a:t>types.</a:t>
            </a:r>
          </a:p>
          <a:p>
            <a:pPr marL="386715" marR="466725">
              <a:lnSpc>
                <a:spcPts val="1340"/>
              </a:lnSpc>
              <a:spcBef>
                <a:spcPts val="5"/>
              </a:spcBef>
            </a:pPr>
            <a:r>
              <a:rPr sz="1600" b="1" dirty="0">
                <a:latin typeface="Arial"/>
                <a:cs typeface="Arial"/>
              </a:rPr>
              <a:t>Sales </a:t>
            </a:r>
            <a:r>
              <a:rPr sz="1600" b="1" spc="-5" dirty="0">
                <a:latin typeface="Arial"/>
                <a:cs typeface="Arial"/>
              </a:rPr>
              <a:t>and Distribution </a:t>
            </a:r>
            <a:r>
              <a:rPr sz="1600" b="1" dirty="0">
                <a:latin typeface="Arial"/>
                <a:cs typeface="Arial"/>
              </a:rPr>
              <a:t>- &gt;Basic </a:t>
            </a:r>
            <a:r>
              <a:rPr sz="1600" b="1" spc="-5" dirty="0">
                <a:latin typeface="Arial"/>
                <a:cs typeface="Arial"/>
              </a:rPr>
              <a:t>Functions </a:t>
            </a:r>
            <a:r>
              <a:rPr sz="1600" b="1" dirty="0">
                <a:latin typeface="Arial"/>
                <a:cs typeface="Arial"/>
              </a:rPr>
              <a:t>-&gt;Pricing -&gt; Pricing </a:t>
            </a:r>
            <a:r>
              <a:rPr sz="1600" b="1" spc="-5" dirty="0">
                <a:latin typeface="Arial"/>
                <a:cs typeface="Arial"/>
              </a:rPr>
              <a:t>Control -&gt;Define</a:t>
            </a:r>
            <a:r>
              <a:rPr sz="1600" b="1" spc="-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dition  </a:t>
            </a:r>
            <a:r>
              <a:rPr sz="1600" b="1" spc="-20" dirty="0">
                <a:latin typeface="Arial"/>
                <a:cs typeface="Arial"/>
              </a:rPr>
              <a:t>Tables </a:t>
            </a:r>
            <a:r>
              <a:rPr sz="1600" b="1" dirty="0">
                <a:latin typeface="Arial"/>
                <a:cs typeface="Arial"/>
              </a:rPr>
              <a:t>-&gt;Create </a:t>
            </a:r>
            <a:r>
              <a:rPr sz="1600" b="1" spc="-5" dirty="0">
                <a:latin typeface="Arial"/>
                <a:cs typeface="Arial"/>
              </a:rPr>
              <a:t>Condition</a:t>
            </a:r>
            <a:r>
              <a:rPr sz="1600" b="1" spc="-160" dirty="0">
                <a:latin typeface="Arial"/>
                <a:cs typeface="Arial"/>
              </a:rPr>
              <a:t> </a:t>
            </a:r>
            <a:r>
              <a:rPr sz="1600" b="1" spc="-25" dirty="0" err="1" smtClean="0">
                <a:latin typeface="Arial"/>
                <a:cs typeface="Arial"/>
              </a:rPr>
              <a:t>Table</a:t>
            </a:r>
            <a:r>
              <a:rPr sz="1600" b="1" i="1" spc="-20" dirty="0" err="1" smtClean="0">
                <a:solidFill>
                  <a:srgbClr val="252599"/>
                </a:solidFill>
                <a:latin typeface="Arial"/>
                <a:cs typeface="Arial"/>
              </a:rPr>
              <a:t>T</a:t>
            </a:r>
            <a:r>
              <a:rPr sz="1600" b="1" i="1" spc="-20" dirty="0" smtClean="0">
                <a:solidFill>
                  <a:srgbClr val="252599"/>
                </a:solidFill>
                <a:latin typeface="Arial"/>
                <a:cs typeface="Arial"/>
              </a:rPr>
              <a:t>-Code</a:t>
            </a:r>
            <a:r>
              <a:rPr sz="1600" b="1" i="1" spc="-100" dirty="0" smtClean="0">
                <a:solidFill>
                  <a:srgbClr val="252599"/>
                </a:solidFill>
                <a:latin typeface="Arial"/>
                <a:cs typeface="Arial"/>
              </a:rPr>
              <a:t> </a:t>
            </a:r>
            <a:r>
              <a:rPr sz="1600" b="1" i="1" dirty="0">
                <a:solidFill>
                  <a:srgbClr val="252599"/>
                </a:solidFill>
                <a:latin typeface="Arial"/>
                <a:cs typeface="Arial"/>
              </a:rPr>
              <a:t>V/03</a:t>
            </a:r>
          </a:p>
          <a:p>
            <a:pPr marL="43815">
              <a:lnSpc>
                <a:spcPts val="1510"/>
              </a:lnSpc>
              <a:tabLst>
                <a:tab pos="387350" algn="l"/>
              </a:tabLst>
            </a:pPr>
            <a:r>
              <a:rPr sz="1600" spc="-5" dirty="0"/>
              <a:t>2)	</a:t>
            </a:r>
            <a:r>
              <a:rPr sz="1600" dirty="0"/>
              <a:t>Define</a:t>
            </a:r>
            <a:r>
              <a:rPr sz="1600" spc="-30" dirty="0"/>
              <a:t> </a:t>
            </a:r>
            <a:r>
              <a:rPr sz="1600" dirty="0"/>
              <a:t>the</a:t>
            </a:r>
            <a:r>
              <a:rPr sz="1600" spc="-30" dirty="0"/>
              <a:t> </a:t>
            </a:r>
            <a:r>
              <a:rPr sz="1600" dirty="0">
                <a:solidFill>
                  <a:srgbClr val="252599"/>
                </a:solidFill>
              </a:rPr>
              <a:t>access</a:t>
            </a:r>
            <a:r>
              <a:rPr sz="1600" spc="-40" dirty="0">
                <a:solidFill>
                  <a:srgbClr val="252599"/>
                </a:solidFill>
              </a:rPr>
              <a:t> </a:t>
            </a:r>
            <a:r>
              <a:rPr sz="1600" dirty="0">
                <a:solidFill>
                  <a:srgbClr val="252599"/>
                </a:solidFill>
              </a:rPr>
              <a:t>sequences</a:t>
            </a:r>
            <a:r>
              <a:rPr sz="1600" spc="-40" dirty="0">
                <a:solidFill>
                  <a:srgbClr val="252599"/>
                </a:solidFill>
              </a:rPr>
              <a:t> </a:t>
            </a:r>
            <a:r>
              <a:rPr sz="1600" dirty="0"/>
              <a:t>that</a:t>
            </a:r>
            <a:r>
              <a:rPr sz="1600" spc="-30" dirty="0"/>
              <a:t> </a:t>
            </a:r>
            <a:r>
              <a:rPr sz="1600" dirty="0"/>
              <a:t>enable</a:t>
            </a:r>
            <a:r>
              <a:rPr sz="1600" spc="-35" dirty="0"/>
              <a:t> </a:t>
            </a:r>
            <a:r>
              <a:rPr sz="1600" dirty="0"/>
              <a:t>the</a:t>
            </a:r>
            <a:r>
              <a:rPr sz="1600" spc="-20" dirty="0"/>
              <a:t> </a:t>
            </a:r>
            <a:r>
              <a:rPr sz="1600" spc="-5" dirty="0"/>
              <a:t>system</a:t>
            </a:r>
            <a:r>
              <a:rPr sz="1600" spc="-25" dirty="0"/>
              <a:t> </a:t>
            </a:r>
            <a:r>
              <a:rPr sz="1600" dirty="0"/>
              <a:t>to</a:t>
            </a:r>
            <a:r>
              <a:rPr sz="1600" spc="-20" dirty="0"/>
              <a:t> </a:t>
            </a:r>
            <a:r>
              <a:rPr sz="1600" dirty="0"/>
              <a:t>find</a:t>
            </a:r>
            <a:r>
              <a:rPr sz="1600" spc="-20" dirty="0"/>
              <a:t> </a:t>
            </a:r>
            <a:r>
              <a:rPr sz="1600" spc="-5" dirty="0"/>
              <a:t>valid</a:t>
            </a:r>
            <a:r>
              <a:rPr sz="1600" spc="5" dirty="0"/>
              <a:t> </a:t>
            </a:r>
            <a:r>
              <a:rPr sz="1600" dirty="0"/>
              <a:t>condition</a:t>
            </a:r>
            <a:r>
              <a:rPr sz="1600" spc="-45" dirty="0"/>
              <a:t> </a:t>
            </a:r>
            <a:r>
              <a:rPr sz="1600" dirty="0"/>
              <a:t>records.</a:t>
            </a:r>
          </a:p>
          <a:p>
            <a:pPr marL="386715" marR="684530">
              <a:lnSpc>
                <a:spcPts val="1340"/>
              </a:lnSpc>
              <a:spcBef>
                <a:spcPts val="160"/>
              </a:spcBef>
            </a:pPr>
            <a:r>
              <a:rPr sz="1600" b="1" dirty="0">
                <a:latin typeface="Arial"/>
                <a:cs typeface="Arial"/>
              </a:rPr>
              <a:t>Sales </a:t>
            </a:r>
            <a:r>
              <a:rPr sz="1600" b="1" spc="-5" dirty="0">
                <a:latin typeface="Arial"/>
                <a:cs typeface="Arial"/>
              </a:rPr>
              <a:t>and Distribution </a:t>
            </a:r>
            <a:r>
              <a:rPr sz="1600" b="1" dirty="0">
                <a:latin typeface="Arial"/>
                <a:cs typeface="Arial"/>
              </a:rPr>
              <a:t>- &gt;Basic </a:t>
            </a:r>
            <a:r>
              <a:rPr sz="1600" b="1" spc="-5" dirty="0">
                <a:latin typeface="Arial"/>
                <a:cs typeface="Arial"/>
              </a:rPr>
              <a:t>Functions </a:t>
            </a:r>
            <a:r>
              <a:rPr sz="1600" b="1" dirty="0">
                <a:latin typeface="Arial"/>
                <a:cs typeface="Arial"/>
              </a:rPr>
              <a:t>-&gt;Pricing -&gt; Pricing </a:t>
            </a:r>
            <a:r>
              <a:rPr sz="1600" b="1" spc="-5" dirty="0">
                <a:latin typeface="Arial"/>
                <a:cs typeface="Arial"/>
              </a:rPr>
              <a:t>Control -&gt;Define</a:t>
            </a:r>
            <a:r>
              <a:rPr sz="1600" b="1" spc="-28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ccess  </a:t>
            </a:r>
            <a:r>
              <a:rPr sz="1600" b="1" spc="-5" dirty="0">
                <a:latin typeface="Arial"/>
                <a:cs typeface="Arial"/>
              </a:rPr>
              <a:t>Sequences-&gt;Maintain </a:t>
            </a:r>
            <a:r>
              <a:rPr sz="1600" b="1" spc="-10" dirty="0">
                <a:latin typeface="Arial"/>
                <a:cs typeface="Arial"/>
              </a:rPr>
              <a:t>Access</a:t>
            </a:r>
            <a:r>
              <a:rPr sz="1600" b="1" spc="-100" dirty="0">
                <a:latin typeface="Arial"/>
                <a:cs typeface="Arial"/>
              </a:rPr>
              <a:t> </a:t>
            </a:r>
            <a:r>
              <a:rPr sz="1600" b="1" spc="-5" dirty="0" err="1" smtClean="0">
                <a:latin typeface="Arial"/>
                <a:cs typeface="Arial"/>
              </a:rPr>
              <a:t>Sequences</a:t>
            </a:r>
            <a:r>
              <a:rPr sz="1600" b="1" i="1" spc="-20" dirty="0" err="1" smtClean="0">
                <a:solidFill>
                  <a:srgbClr val="252599"/>
                </a:solidFill>
                <a:latin typeface="Arial"/>
                <a:cs typeface="Arial"/>
              </a:rPr>
              <a:t>T</a:t>
            </a:r>
            <a:r>
              <a:rPr sz="1600" b="1" i="1" spc="-20" dirty="0" smtClean="0">
                <a:solidFill>
                  <a:srgbClr val="252599"/>
                </a:solidFill>
                <a:latin typeface="Arial"/>
                <a:cs typeface="Arial"/>
              </a:rPr>
              <a:t>-Code</a:t>
            </a:r>
            <a:r>
              <a:rPr sz="1600" b="1" i="1" spc="-100" dirty="0" smtClean="0">
                <a:solidFill>
                  <a:srgbClr val="252599"/>
                </a:solidFill>
                <a:latin typeface="Arial"/>
                <a:cs typeface="Arial"/>
              </a:rPr>
              <a:t> </a:t>
            </a:r>
            <a:r>
              <a:rPr sz="1600" b="1" i="1" dirty="0">
                <a:solidFill>
                  <a:srgbClr val="252599"/>
                </a:solidFill>
                <a:latin typeface="Arial"/>
                <a:cs typeface="Arial"/>
              </a:rPr>
              <a:t>V/07</a:t>
            </a:r>
          </a:p>
          <a:p>
            <a:pPr marL="386715" marR="5080" indent="-343535">
              <a:lnSpc>
                <a:spcPts val="1340"/>
              </a:lnSpc>
              <a:spcBef>
                <a:spcPts val="325"/>
              </a:spcBef>
              <a:tabLst>
                <a:tab pos="387350" algn="l"/>
              </a:tabLst>
            </a:pPr>
            <a:r>
              <a:rPr sz="1600" spc="-5" dirty="0"/>
              <a:t>3)	</a:t>
            </a:r>
            <a:r>
              <a:rPr sz="1600" dirty="0"/>
              <a:t>Define</a:t>
            </a:r>
            <a:r>
              <a:rPr sz="1600" spc="-30" dirty="0"/>
              <a:t> </a:t>
            </a:r>
            <a:r>
              <a:rPr sz="1600" dirty="0">
                <a:solidFill>
                  <a:srgbClr val="252599"/>
                </a:solidFill>
              </a:rPr>
              <a:t>condition</a:t>
            </a:r>
            <a:r>
              <a:rPr sz="1600" spc="-45" dirty="0">
                <a:solidFill>
                  <a:srgbClr val="252599"/>
                </a:solidFill>
              </a:rPr>
              <a:t> </a:t>
            </a:r>
            <a:r>
              <a:rPr sz="1600" spc="-5" dirty="0">
                <a:solidFill>
                  <a:srgbClr val="252599"/>
                </a:solidFill>
              </a:rPr>
              <a:t>types</a:t>
            </a:r>
            <a:r>
              <a:rPr sz="1600" spc="-10" dirty="0">
                <a:solidFill>
                  <a:srgbClr val="252599"/>
                </a:solidFill>
              </a:rPr>
              <a:t> </a:t>
            </a:r>
            <a:r>
              <a:rPr sz="1600" dirty="0"/>
              <a:t>for</a:t>
            </a:r>
            <a:r>
              <a:rPr sz="1600" spc="-20" dirty="0"/>
              <a:t> </a:t>
            </a:r>
            <a:r>
              <a:rPr sz="1600" dirty="0"/>
              <a:t>each</a:t>
            </a:r>
            <a:r>
              <a:rPr sz="1600" spc="-30" dirty="0"/>
              <a:t> </a:t>
            </a:r>
            <a:r>
              <a:rPr sz="1600" dirty="0"/>
              <a:t>of</a:t>
            </a:r>
            <a:r>
              <a:rPr sz="1600" spc="-15" dirty="0"/>
              <a:t> </a:t>
            </a:r>
            <a:r>
              <a:rPr sz="1600" dirty="0"/>
              <a:t>the</a:t>
            </a:r>
            <a:r>
              <a:rPr sz="1600" spc="-20" dirty="0"/>
              <a:t> </a:t>
            </a:r>
            <a:r>
              <a:rPr sz="1600" dirty="0"/>
              <a:t>price</a:t>
            </a:r>
            <a:r>
              <a:rPr sz="1600" spc="-30" dirty="0"/>
              <a:t> </a:t>
            </a:r>
            <a:r>
              <a:rPr sz="1600" dirty="0"/>
              <a:t>elements</a:t>
            </a:r>
            <a:r>
              <a:rPr sz="1600" spc="-30" dirty="0"/>
              <a:t> </a:t>
            </a:r>
            <a:r>
              <a:rPr sz="1600" dirty="0"/>
              <a:t>(prices,</a:t>
            </a:r>
            <a:r>
              <a:rPr sz="1600" spc="-50" dirty="0"/>
              <a:t> </a:t>
            </a:r>
            <a:r>
              <a:rPr sz="1600" dirty="0"/>
              <a:t>discounts,</a:t>
            </a:r>
            <a:r>
              <a:rPr sz="1600" spc="-60" dirty="0"/>
              <a:t> </a:t>
            </a:r>
            <a:r>
              <a:rPr sz="1600" dirty="0"/>
              <a:t>and</a:t>
            </a:r>
            <a:r>
              <a:rPr sz="1600" spc="-20" dirty="0"/>
              <a:t> </a:t>
            </a:r>
            <a:r>
              <a:rPr sz="1600" dirty="0"/>
              <a:t>surcharges)</a:t>
            </a:r>
            <a:r>
              <a:rPr sz="1600" spc="-55" dirty="0"/>
              <a:t> </a:t>
            </a:r>
            <a:r>
              <a:rPr sz="1600" dirty="0"/>
              <a:t>that</a:t>
            </a:r>
            <a:r>
              <a:rPr sz="1600" spc="-30" dirty="0"/>
              <a:t> </a:t>
            </a:r>
            <a:r>
              <a:rPr sz="1600" dirty="0"/>
              <a:t>occur</a:t>
            </a:r>
            <a:r>
              <a:rPr sz="1600" spc="-30" dirty="0"/>
              <a:t> </a:t>
            </a:r>
            <a:r>
              <a:rPr sz="1600" dirty="0"/>
              <a:t>in  </a:t>
            </a:r>
            <a:r>
              <a:rPr sz="1600" spc="-5" dirty="0"/>
              <a:t>your </a:t>
            </a:r>
            <a:r>
              <a:rPr sz="1600" dirty="0"/>
              <a:t>daily business</a:t>
            </a:r>
            <a:r>
              <a:rPr sz="1600" spc="-140" dirty="0"/>
              <a:t> </a:t>
            </a:r>
            <a:r>
              <a:rPr sz="1600" dirty="0"/>
              <a:t>transactions.</a:t>
            </a:r>
          </a:p>
          <a:p>
            <a:pPr marL="386715">
              <a:lnSpc>
                <a:spcPts val="1190"/>
              </a:lnSpc>
            </a:pPr>
            <a:r>
              <a:rPr sz="1600" b="1" dirty="0">
                <a:latin typeface="Arial"/>
                <a:cs typeface="Arial"/>
              </a:rPr>
              <a:t>Sales </a:t>
            </a:r>
            <a:r>
              <a:rPr sz="1600" b="1" spc="-5" dirty="0">
                <a:latin typeface="Arial"/>
                <a:cs typeface="Arial"/>
              </a:rPr>
              <a:t>and Distribution </a:t>
            </a:r>
            <a:r>
              <a:rPr sz="1600" b="1" dirty="0">
                <a:latin typeface="Arial"/>
                <a:cs typeface="Arial"/>
              </a:rPr>
              <a:t>- &gt;Basic </a:t>
            </a:r>
            <a:r>
              <a:rPr sz="1600" b="1" spc="-5" dirty="0">
                <a:latin typeface="Arial"/>
                <a:cs typeface="Arial"/>
              </a:rPr>
              <a:t>Functions </a:t>
            </a:r>
            <a:r>
              <a:rPr sz="1600" b="1" dirty="0">
                <a:latin typeface="Arial"/>
                <a:cs typeface="Arial"/>
              </a:rPr>
              <a:t>-&gt;Pricing -&gt; Pricing </a:t>
            </a:r>
            <a:r>
              <a:rPr sz="1600" b="1" spc="-5" dirty="0">
                <a:latin typeface="Arial"/>
                <a:cs typeface="Arial"/>
              </a:rPr>
              <a:t>Control -&gt;Define</a:t>
            </a:r>
            <a:r>
              <a:rPr sz="1600" b="1" spc="-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dition</a:t>
            </a:r>
          </a:p>
          <a:p>
            <a:pPr marL="386715">
              <a:lnSpc>
                <a:spcPts val="1345"/>
              </a:lnSpc>
            </a:pPr>
            <a:r>
              <a:rPr sz="1600" b="1" spc="-10" dirty="0">
                <a:latin typeface="Arial"/>
                <a:cs typeface="Arial"/>
              </a:rPr>
              <a:t>Types-&gt;Maintain </a:t>
            </a:r>
            <a:r>
              <a:rPr sz="1600" b="1" spc="-5" dirty="0">
                <a:latin typeface="Arial"/>
                <a:cs typeface="Arial"/>
              </a:rPr>
              <a:t>Condition</a:t>
            </a:r>
            <a:r>
              <a:rPr sz="1600" b="1" spc="-145" dirty="0">
                <a:latin typeface="Arial"/>
                <a:cs typeface="Arial"/>
              </a:rPr>
              <a:t> </a:t>
            </a:r>
            <a:r>
              <a:rPr sz="1600" b="1" spc="-35" dirty="0" err="1" smtClean="0">
                <a:latin typeface="Arial"/>
                <a:cs typeface="Arial"/>
              </a:rPr>
              <a:t>Types</a:t>
            </a:r>
            <a:r>
              <a:rPr sz="1600" b="1" i="1" spc="-20" dirty="0" err="1" smtClean="0">
                <a:solidFill>
                  <a:srgbClr val="252599"/>
                </a:solidFill>
                <a:latin typeface="Arial"/>
                <a:cs typeface="Arial"/>
              </a:rPr>
              <a:t>T</a:t>
            </a:r>
            <a:r>
              <a:rPr sz="1600" b="1" i="1" spc="-20" dirty="0" smtClean="0">
                <a:solidFill>
                  <a:srgbClr val="252599"/>
                </a:solidFill>
                <a:latin typeface="Arial"/>
                <a:cs typeface="Arial"/>
              </a:rPr>
              <a:t>-Code</a:t>
            </a:r>
            <a:r>
              <a:rPr sz="1600" b="1" i="1" spc="-100" dirty="0" smtClean="0">
                <a:solidFill>
                  <a:srgbClr val="252599"/>
                </a:solidFill>
                <a:latin typeface="Arial"/>
                <a:cs typeface="Arial"/>
              </a:rPr>
              <a:t> </a:t>
            </a:r>
            <a:r>
              <a:rPr sz="1600" b="1" i="1" dirty="0">
                <a:solidFill>
                  <a:srgbClr val="252599"/>
                </a:solidFill>
                <a:latin typeface="Arial"/>
                <a:cs typeface="Arial"/>
              </a:rPr>
              <a:t>V/06</a:t>
            </a:r>
          </a:p>
          <a:p>
            <a:pPr marL="43815">
              <a:lnSpc>
                <a:spcPts val="1510"/>
              </a:lnSpc>
              <a:tabLst>
                <a:tab pos="387350" algn="l"/>
              </a:tabLst>
            </a:pPr>
            <a:r>
              <a:rPr sz="1600" spc="-5" dirty="0"/>
              <a:t>4)	</a:t>
            </a:r>
            <a:r>
              <a:rPr sz="1600" dirty="0"/>
              <a:t>Group condition </a:t>
            </a:r>
            <a:r>
              <a:rPr sz="1600" spc="-5" dirty="0"/>
              <a:t>types </a:t>
            </a:r>
            <a:r>
              <a:rPr sz="1600" dirty="0"/>
              <a:t>and establish their sequence in </a:t>
            </a:r>
            <a:r>
              <a:rPr sz="1600" dirty="0">
                <a:solidFill>
                  <a:srgbClr val="252599"/>
                </a:solidFill>
              </a:rPr>
              <a:t>pricing</a:t>
            </a:r>
            <a:r>
              <a:rPr sz="1600" spc="-254" dirty="0">
                <a:solidFill>
                  <a:srgbClr val="252599"/>
                </a:solidFill>
              </a:rPr>
              <a:t> </a:t>
            </a:r>
            <a:r>
              <a:rPr sz="1600" dirty="0">
                <a:solidFill>
                  <a:srgbClr val="252599"/>
                </a:solidFill>
              </a:rPr>
              <a:t>procedures</a:t>
            </a:r>
            <a:r>
              <a:rPr sz="1600" dirty="0"/>
              <a:t>.</a:t>
            </a:r>
          </a:p>
          <a:p>
            <a:pPr marL="386715" marR="350520">
              <a:lnSpc>
                <a:spcPct val="80000"/>
              </a:lnSpc>
              <a:spcBef>
                <a:spcPts val="165"/>
              </a:spcBef>
            </a:pPr>
            <a:r>
              <a:rPr sz="1600" b="1" dirty="0">
                <a:latin typeface="Arial"/>
                <a:cs typeface="Arial"/>
              </a:rPr>
              <a:t>Sales</a:t>
            </a:r>
            <a:r>
              <a:rPr sz="1600" b="1" spc="-4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nd Distribution</a:t>
            </a:r>
            <a:r>
              <a:rPr sz="1600" b="1" spc="-50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- &gt;Basic</a:t>
            </a:r>
            <a:r>
              <a:rPr sz="1600" b="1" spc="-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Functions</a:t>
            </a:r>
            <a:r>
              <a:rPr sz="1600" b="1" spc="-40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-&gt;Pricing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-&gt;</a:t>
            </a:r>
            <a:r>
              <a:rPr sz="1600" b="1" spc="-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Pricing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 -&gt;Define</a:t>
            </a:r>
            <a:r>
              <a:rPr sz="1600" b="1" spc="-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nd</a:t>
            </a:r>
            <a:r>
              <a:rPr sz="1600" b="1" spc="-7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ssign  </a:t>
            </a:r>
            <a:r>
              <a:rPr sz="1600" b="1" dirty="0">
                <a:latin typeface="Arial"/>
                <a:cs typeface="Arial"/>
              </a:rPr>
              <a:t>Pricing </a:t>
            </a:r>
            <a:r>
              <a:rPr sz="1600" b="1" spc="-5" dirty="0">
                <a:latin typeface="Arial"/>
                <a:cs typeface="Arial"/>
              </a:rPr>
              <a:t>Procedure </a:t>
            </a:r>
            <a:r>
              <a:rPr sz="1600" b="1" dirty="0">
                <a:latin typeface="Arial"/>
                <a:cs typeface="Arial"/>
              </a:rPr>
              <a:t>-&gt;Maintain Pricing</a:t>
            </a:r>
            <a:r>
              <a:rPr sz="1600" b="1" spc="-185" dirty="0">
                <a:latin typeface="Arial"/>
                <a:cs typeface="Arial"/>
              </a:rPr>
              <a:t> </a:t>
            </a:r>
            <a:r>
              <a:rPr sz="1600" b="1" spc="-5" dirty="0" err="1" smtClean="0">
                <a:latin typeface="Arial"/>
                <a:cs typeface="Arial"/>
              </a:rPr>
              <a:t>Procedure</a:t>
            </a:r>
            <a:r>
              <a:rPr sz="1600" b="1" i="1" spc="-20" dirty="0" err="1" smtClean="0">
                <a:solidFill>
                  <a:srgbClr val="252599"/>
                </a:solidFill>
                <a:latin typeface="Arial"/>
                <a:cs typeface="Arial"/>
              </a:rPr>
              <a:t>T</a:t>
            </a:r>
            <a:r>
              <a:rPr sz="1600" b="1" i="1" spc="-20" dirty="0" smtClean="0">
                <a:solidFill>
                  <a:srgbClr val="252599"/>
                </a:solidFill>
                <a:latin typeface="Arial"/>
                <a:cs typeface="Arial"/>
              </a:rPr>
              <a:t>-Code</a:t>
            </a:r>
            <a:r>
              <a:rPr sz="1600" b="1" i="1" spc="-100" dirty="0" smtClean="0">
                <a:solidFill>
                  <a:srgbClr val="252599"/>
                </a:solidFill>
                <a:latin typeface="Arial"/>
                <a:cs typeface="Arial"/>
              </a:rPr>
              <a:t> </a:t>
            </a:r>
            <a:r>
              <a:rPr sz="1600" b="1" i="1" dirty="0">
                <a:solidFill>
                  <a:srgbClr val="252599"/>
                </a:solidFill>
                <a:latin typeface="Arial"/>
                <a:cs typeface="Arial"/>
              </a:rPr>
              <a:t>V/08</a:t>
            </a:r>
          </a:p>
          <a:p>
            <a:pPr marL="43815">
              <a:lnSpc>
                <a:spcPts val="1510"/>
              </a:lnSpc>
              <a:tabLst>
                <a:tab pos="387350" algn="l"/>
              </a:tabLst>
            </a:pPr>
            <a:r>
              <a:rPr sz="1600" spc="-5" dirty="0"/>
              <a:t>5)	</a:t>
            </a:r>
            <a:r>
              <a:rPr sz="1600" dirty="0"/>
              <a:t>Create </a:t>
            </a:r>
            <a:r>
              <a:rPr sz="1600" dirty="0">
                <a:solidFill>
                  <a:srgbClr val="252599"/>
                </a:solidFill>
              </a:rPr>
              <a:t>Pricing Condition</a:t>
            </a:r>
            <a:r>
              <a:rPr sz="1600" spc="-170" dirty="0">
                <a:solidFill>
                  <a:srgbClr val="252599"/>
                </a:solidFill>
              </a:rPr>
              <a:t> </a:t>
            </a:r>
            <a:r>
              <a:rPr sz="1600" dirty="0">
                <a:solidFill>
                  <a:srgbClr val="252599"/>
                </a:solidFill>
              </a:rPr>
              <a:t>Records</a:t>
            </a:r>
          </a:p>
          <a:p>
            <a:pPr marL="386715" marR="23495">
              <a:lnSpc>
                <a:spcPts val="1340"/>
              </a:lnSpc>
              <a:spcBef>
                <a:spcPts val="160"/>
              </a:spcBef>
            </a:pPr>
            <a:r>
              <a:rPr sz="1600" b="1" spc="-15" dirty="0">
                <a:latin typeface="Arial"/>
                <a:cs typeface="Arial"/>
              </a:rPr>
              <a:t>SAP </a:t>
            </a:r>
            <a:r>
              <a:rPr sz="1600" b="1" dirty="0">
                <a:latin typeface="Arial"/>
                <a:cs typeface="Arial"/>
              </a:rPr>
              <a:t>Easy </a:t>
            </a:r>
            <a:r>
              <a:rPr sz="1600" b="1" spc="-10" dirty="0">
                <a:latin typeface="Arial"/>
                <a:cs typeface="Arial"/>
              </a:rPr>
              <a:t>Access </a:t>
            </a:r>
            <a:r>
              <a:rPr sz="1600" b="1" dirty="0">
                <a:latin typeface="Arial"/>
                <a:cs typeface="Arial"/>
              </a:rPr>
              <a:t>-&gt; </a:t>
            </a:r>
            <a:r>
              <a:rPr sz="1600" b="1" spc="-5" dirty="0">
                <a:latin typeface="Arial"/>
                <a:cs typeface="Arial"/>
              </a:rPr>
              <a:t>Logistics-&gt;Sales and Distribution-&gt;Master Data-&gt;Conditions </a:t>
            </a:r>
            <a:r>
              <a:rPr sz="1600" b="1" dirty="0">
                <a:latin typeface="Arial"/>
                <a:cs typeface="Arial"/>
              </a:rPr>
              <a:t>Select </a:t>
            </a:r>
            <a:r>
              <a:rPr sz="1600" b="1" spc="-5" dirty="0">
                <a:latin typeface="Arial"/>
                <a:cs typeface="Arial"/>
              </a:rPr>
              <a:t>Using  Condition </a:t>
            </a:r>
            <a:r>
              <a:rPr sz="1600" b="1" spc="-45" dirty="0">
                <a:latin typeface="Arial"/>
                <a:cs typeface="Arial"/>
              </a:rPr>
              <a:t>Type </a:t>
            </a:r>
            <a:r>
              <a:rPr sz="1600" b="1" dirty="0">
                <a:latin typeface="Arial"/>
                <a:cs typeface="Arial"/>
              </a:rPr>
              <a:t>-&gt;</a:t>
            </a:r>
            <a:r>
              <a:rPr sz="1600" b="1" spc="-50" dirty="0">
                <a:latin typeface="Arial"/>
                <a:cs typeface="Arial"/>
              </a:rPr>
              <a:t> </a:t>
            </a:r>
            <a:r>
              <a:rPr sz="1600" b="1" dirty="0" err="1" smtClean="0">
                <a:latin typeface="Arial"/>
                <a:cs typeface="Arial"/>
              </a:rPr>
              <a:t>Create</a:t>
            </a:r>
            <a:r>
              <a:rPr sz="1600" b="1" i="1" spc="-20" dirty="0" err="1" smtClean="0">
                <a:solidFill>
                  <a:srgbClr val="252599"/>
                </a:solidFill>
                <a:latin typeface="Arial"/>
                <a:cs typeface="Arial"/>
              </a:rPr>
              <a:t>T</a:t>
            </a:r>
            <a:r>
              <a:rPr sz="1600" b="1" i="1" spc="-20" dirty="0" smtClean="0">
                <a:solidFill>
                  <a:srgbClr val="252599"/>
                </a:solidFill>
                <a:latin typeface="Arial"/>
                <a:cs typeface="Arial"/>
              </a:rPr>
              <a:t>-Code</a:t>
            </a:r>
            <a:r>
              <a:rPr sz="1600" b="1" i="1" spc="-95" dirty="0" smtClean="0">
                <a:solidFill>
                  <a:srgbClr val="252599"/>
                </a:solidFill>
                <a:latin typeface="Arial"/>
                <a:cs typeface="Arial"/>
              </a:rPr>
              <a:t> </a:t>
            </a:r>
            <a:r>
              <a:rPr sz="1600" b="1" i="1" spc="-30" dirty="0">
                <a:solidFill>
                  <a:srgbClr val="252599"/>
                </a:solidFill>
                <a:latin typeface="Arial"/>
                <a:cs typeface="Arial"/>
              </a:rPr>
              <a:t>VK11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7938516" y="291084"/>
            <a:ext cx="729996" cy="7391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100" y="822960"/>
            <a:ext cx="809244" cy="8199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100" y="1432560"/>
            <a:ext cx="809244" cy="8199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1" y="224068"/>
            <a:ext cx="914399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3600" spc="-5" dirty="0"/>
              <a:t>Sales </a:t>
            </a:r>
            <a:r>
              <a:rPr sz="3600" dirty="0"/>
              <a:t>Process </a:t>
            </a:r>
            <a:r>
              <a:rPr sz="3600" spc="-5" dirty="0"/>
              <a:t>– </a:t>
            </a:r>
            <a:r>
              <a:rPr sz="3600" spc="-5" dirty="0" smtClean="0"/>
              <a:t>I</a:t>
            </a:r>
            <a:r>
              <a:rPr lang="en-US" sz="3600" spc="-5" dirty="0" smtClean="0"/>
              <a:t>n</a:t>
            </a:r>
            <a:r>
              <a:rPr sz="3600" spc="-5" dirty="0" smtClean="0"/>
              <a:t>quiry </a:t>
            </a:r>
            <a:r>
              <a:rPr sz="3600" spc="-5" dirty="0"/>
              <a:t>&amp;</a:t>
            </a:r>
            <a:r>
              <a:rPr sz="3600" spc="-50" dirty="0"/>
              <a:t> </a:t>
            </a:r>
            <a:r>
              <a:rPr sz="3600" dirty="0"/>
              <a:t>Quotation</a:t>
            </a:r>
          </a:p>
        </p:txBody>
      </p:sp>
      <p:sp>
        <p:nvSpPr>
          <p:cNvPr id="10" name="object 10"/>
          <p:cNvSpPr/>
          <p:nvPr/>
        </p:nvSpPr>
        <p:spPr>
          <a:xfrm>
            <a:off x="394715" y="1831848"/>
            <a:ext cx="652272" cy="66141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94715" y="2417064"/>
            <a:ext cx="652272" cy="66141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47344" y="1219200"/>
            <a:ext cx="3419856" cy="312419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495800" y="1219199"/>
            <a:ext cx="3789679" cy="31241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12140" y="4460620"/>
            <a:ext cx="3572510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7465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A </a:t>
            </a:r>
            <a:r>
              <a:rPr sz="1200" spc="-5" dirty="0">
                <a:latin typeface="Arial"/>
                <a:cs typeface="Arial"/>
              </a:rPr>
              <a:t>Document </a:t>
            </a:r>
            <a:r>
              <a:rPr sz="1200" spc="-25" dirty="0">
                <a:latin typeface="Arial"/>
                <a:cs typeface="Arial"/>
              </a:rPr>
              <a:t>Type </a:t>
            </a:r>
            <a:r>
              <a:rPr sz="1200" dirty="0">
                <a:latin typeface="Arial"/>
                <a:cs typeface="Arial"/>
              </a:rPr>
              <a:t>determines a </a:t>
            </a:r>
            <a:r>
              <a:rPr sz="1200" spc="-5" dirty="0">
                <a:latin typeface="Arial"/>
                <a:cs typeface="Arial"/>
              </a:rPr>
              <a:t>type </a:t>
            </a:r>
            <a:r>
              <a:rPr sz="1200" dirty="0">
                <a:latin typeface="Arial"/>
                <a:cs typeface="Arial"/>
              </a:rPr>
              <a:t>of</a:t>
            </a:r>
            <a:r>
              <a:rPr sz="1200" spc="-229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sales  </a:t>
            </a:r>
            <a:r>
              <a:rPr sz="1200" spc="-5" dirty="0">
                <a:latin typeface="Arial"/>
                <a:cs typeface="Arial"/>
              </a:rPr>
              <a:t>transaction, </a:t>
            </a:r>
            <a:r>
              <a:rPr sz="1200" dirty="0">
                <a:latin typeface="Arial"/>
                <a:cs typeface="Arial"/>
              </a:rPr>
              <a:t>e.g. Quotation or</a:t>
            </a:r>
            <a:r>
              <a:rPr sz="1200" spc="-145" dirty="0">
                <a:latin typeface="Arial"/>
                <a:cs typeface="Arial"/>
              </a:rPr>
              <a:t> </a:t>
            </a:r>
            <a:r>
              <a:rPr sz="1200" spc="-15" dirty="0">
                <a:latin typeface="Arial"/>
                <a:cs typeface="Arial"/>
              </a:rPr>
              <a:t>Order.</a:t>
            </a:r>
            <a:endParaRPr sz="12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The </a:t>
            </a:r>
            <a:r>
              <a:rPr sz="1200" dirty="0">
                <a:latin typeface="Arial"/>
                <a:cs typeface="Arial"/>
              </a:rPr>
              <a:t>Header data contain details of sold-to  </a:t>
            </a:r>
            <a:r>
              <a:rPr sz="1200" spc="-20" dirty="0">
                <a:latin typeface="Arial"/>
                <a:cs typeface="Arial"/>
              </a:rPr>
              <a:t>party, </a:t>
            </a:r>
            <a:r>
              <a:rPr sz="1200" spc="-5" dirty="0">
                <a:latin typeface="Arial"/>
                <a:cs typeface="Arial"/>
              </a:rPr>
              <a:t>validity </a:t>
            </a:r>
            <a:r>
              <a:rPr sz="1200" dirty="0">
                <a:latin typeface="Arial"/>
                <a:cs typeface="Arial"/>
              </a:rPr>
              <a:t>dates, required </a:t>
            </a:r>
            <a:r>
              <a:rPr sz="1200" spc="-5" dirty="0">
                <a:latin typeface="Arial"/>
                <a:cs typeface="Arial"/>
              </a:rPr>
              <a:t>delivery </a:t>
            </a:r>
            <a:r>
              <a:rPr sz="1200" dirty="0">
                <a:latin typeface="Arial"/>
                <a:cs typeface="Arial"/>
              </a:rPr>
              <a:t>date.  Item data </a:t>
            </a:r>
            <a:r>
              <a:rPr sz="1200" spc="-5" dirty="0">
                <a:latin typeface="Arial"/>
                <a:cs typeface="Arial"/>
              </a:rPr>
              <a:t>will have </a:t>
            </a:r>
            <a:r>
              <a:rPr sz="1200" dirty="0">
                <a:latin typeface="Arial"/>
                <a:cs typeface="Arial"/>
              </a:rPr>
              <a:t>details about material</a:t>
            </a:r>
            <a:r>
              <a:rPr sz="1200" spc="-18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and  required quantities. Schedule line data  contains quantities and </a:t>
            </a:r>
            <a:r>
              <a:rPr sz="1200" spc="-5" dirty="0">
                <a:latin typeface="Arial"/>
                <a:cs typeface="Arial"/>
              </a:rPr>
              <a:t>delivery</a:t>
            </a:r>
            <a:r>
              <a:rPr sz="1200" spc="-15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dates</a:t>
            </a:r>
          </a:p>
          <a:p>
            <a:pPr marL="12700" marR="1729105">
              <a:lnSpc>
                <a:spcPct val="100000"/>
              </a:lnSpc>
            </a:pPr>
            <a:r>
              <a:rPr sz="1200" spc="-55" dirty="0">
                <a:latin typeface="Arial"/>
                <a:cs typeface="Arial"/>
              </a:rPr>
              <a:t>VA11 </a:t>
            </a:r>
            <a:r>
              <a:rPr sz="1200" dirty="0">
                <a:latin typeface="Arial"/>
                <a:cs typeface="Arial"/>
              </a:rPr>
              <a:t>– Create Inquiry  </a:t>
            </a:r>
            <a:r>
              <a:rPr sz="1200" spc="-30" dirty="0">
                <a:latin typeface="Arial"/>
                <a:cs typeface="Arial"/>
              </a:rPr>
              <a:t>VA12 </a:t>
            </a:r>
            <a:r>
              <a:rPr sz="1200" dirty="0">
                <a:latin typeface="Arial"/>
                <a:cs typeface="Arial"/>
              </a:rPr>
              <a:t>– Change</a:t>
            </a:r>
            <a:r>
              <a:rPr sz="1200" spc="-10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Inquiry  </a:t>
            </a:r>
            <a:r>
              <a:rPr sz="1200" spc="-30" dirty="0">
                <a:latin typeface="Arial"/>
                <a:cs typeface="Arial"/>
              </a:rPr>
              <a:t>VA13 </a:t>
            </a:r>
            <a:r>
              <a:rPr sz="1200" dirty="0">
                <a:latin typeface="Arial"/>
                <a:cs typeface="Arial"/>
              </a:rPr>
              <a:t>– Display</a:t>
            </a:r>
            <a:r>
              <a:rPr sz="1200" spc="-9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Inquiry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4787900" y="4460620"/>
            <a:ext cx="3497579" cy="1718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A Quotation is created </a:t>
            </a:r>
            <a:r>
              <a:rPr sz="1400" spc="-5" dirty="0">
                <a:latin typeface="Arial"/>
                <a:cs typeface="Arial"/>
              </a:rPr>
              <a:t>with </a:t>
            </a:r>
            <a:r>
              <a:rPr sz="1400" dirty="0">
                <a:latin typeface="Arial"/>
                <a:cs typeface="Arial"/>
              </a:rPr>
              <a:t>or </a:t>
            </a:r>
            <a:r>
              <a:rPr sz="1400" spc="-5" dirty="0">
                <a:latin typeface="Arial"/>
                <a:cs typeface="Arial"/>
              </a:rPr>
              <a:t>without  </a:t>
            </a:r>
            <a:r>
              <a:rPr sz="1400" dirty="0">
                <a:latin typeface="Arial"/>
                <a:cs typeface="Arial"/>
              </a:rPr>
              <a:t>reference to an </a:t>
            </a:r>
            <a:r>
              <a:rPr sz="1400" spc="-15" dirty="0">
                <a:latin typeface="Arial"/>
                <a:cs typeface="Arial"/>
              </a:rPr>
              <a:t>Inquiry. </a:t>
            </a:r>
            <a:r>
              <a:rPr sz="1400" dirty="0">
                <a:latin typeface="Arial"/>
                <a:cs typeface="Arial"/>
              </a:rPr>
              <a:t>If referred to an  </a:t>
            </a:r>
            <a:r>
              <a:rPr sz="1400" spc="-15" dirty="0">
                <a:latin typeface="Arial"/>
                <a:cs typeface="Arial"/>
              </a:rPr>
              <a:t>Inquiry, </a:t>
            </a:r>
            <a:r>
              <a:rPr sz="1400" dirty="0">
                <a:latin typeface="Arial"/>
                <a:cs typeface="Arial"/>
              </a:rPr>
              <a:t>the data is copied from inquiry to</a:t>
            </a:r>
            <a:r>
              <a:rPr sz="1400" spc="-22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  quotation. </a:t>
            </a:r>
            <a:r>
              <a:rPr sz="1400" spc="-5" dirty="0">
                <a:latin typeface="Arial"/>
                <a:cs typeface="Arial"/>
              </a:rPr>
              <a:t>The validity </a:t>
            </a:r>
            <a:r>
              <a:rPr sz="1400" dirty="0">
                <a:latin typeface="Arial"/>
                <a:cs typeface="Arial"/>
              </a:rPr>
              <a:t>dates &amp; </a:t>
            </a:r>
            <a:r>
              <a:rPr sz="1400" spc="-5" dirty="0">
                <a:latin typeface="Arial"/>
                <a:cs typeface="Arial"/>
              </a:rPr>
              <a:t>delivery  </a:t>
            </a:r>
            <a:r>
              <a:rPr sz="1400" dirty="0">
                <a:latin typeface="Arial"/>
                <a:cs typeface="Arial"/>
              </a:rPr>
              <a:t>dates can be re</a:t>
            </a:r>
            <a:r>
              <a:rPr sz="1400" spc="-1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termined.</a:t>
            </a:r>
          </a:p>
          <a:p>
            <a:pPr marL="12700" marR="1654175">
              <a:lnSpc>
                <a:spcPct val="100000"/>
              </a:lnSpc>
            </a:pPr>
            <a:r>
              <a:rPr sz="1400" spc="-30" dirty="0">
                <a:latin typeface="Arial"/>
                <a:cs typeface="Arial"/>
              </a:rPr>
              <a:t>VA21 </a:t>
            </a:r>
            <a:r>
              <a:rPr sz="1400" dirty="0">
                <a:latin typeface="Arial"/>
                <a:cs typeface="Arial"/>
              </a:rPr>
              <a:t>– Create Inquiry  </a:t>
            </a:r>
            <a:r>
              <a:rPr sz="1400" spc="-30" dirty="0">
                <a:latin typeface="Arial"/>
                <a:cs typeface="Arial"/>
              </a:rPr>
              <a:t>VA22 </a:t>
            </a:r>
            <a:r>
              <a:rPr sz="1400" dirty="0">
                <a:latin typeface="Arial"/>
                <a:cs typeface="Arial"/>
              </a:rPr>
              <a:t>– Change</a:t>
            </a:r>
            <a:r>
              <a:rPr sz="1400" spc="-9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quiry  </a:t>
            </a:r>
            <a:r>
              <a:rPr sz="1400" spc="-30" dirty="0">
                <a:latin typeface="Arial"/>
                <a:cs typeface="Arial"/>
              </a:rPr>
              <a:t>VA23 </a:t>
            </a:r>
            <a:r>
              <a:rPr sz="1400" dirty="0">
                <a:latin typeface="Arial"/>
                <a:cs typeface="Arial"/>
              </a:rPr>
              <a:t>– Display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quiry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5759196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70" dirty="0"/>
              <a:t> </a:t>
            </a:r>
            <a:r>
              <a:rPr dirty="0"/>
              <a:t>Sales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431088" y="4987163"/>
            <a:ext cx="8318500" cy="1291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buChar char="•"/>
              <a:tabLst>
                <a:tab pos="142875" algn="l"/>
              </a:tabLst>
            </a:pPr>
            <a:r>
              <a:rPr sz="1200" dirty="0">
                <a:latin typeface="Arial"/>
                <a:cs typeface="Arial"/>
              </a:rPr>
              <a:t>A </a:t>
            </a:r>
            <a:r>
              <a:rPr sz="1200" spc="-5" dirty="0">
                <a:latin typeface="Arial"/>
                <a:cs typeface="Arial"/>
              </a:rPr>
              <a:t>sales order is </a:t>
            </a:r>
            <a:r>
              <a:rPr sz="1200" dirty="0">
                <a:latin typeface="Arial"/>
                <a:cs typeface="Arial"/>
              </a:rPr>
              <a:t>created </a:t>
            </a:r>
            <a:r>
              <a:rPr sz="1200" spc="-5" dirty="0">
                <a:latin typeface="Arial"/>
                <a:cs typeface="Arial"/>
              </a:rPr>
              <a:t>with </a:t>
            </a:r>
            <a:r>
              <a:rPr sz="1200" dirty="0">
                <a:latin typeface="Arial"/>
                <a:cs typeface="Arial"/>
              </a:rPr>
              <a:t>/ </a:t>
            </a:r>
            <a:r>
              <a:rPr sz="1200" spc="-5" dirty="0">
                <a:latin typeface="Arial"/>
                <a:cs typeface="Arial"/>
              </a:rPr>
              <a:t>without </a:t>
            </a:r>
            <a:r>
              <a:rPr sz="1200" dirty="0">
                <a:latin typeface="Arial"/>
                <a:cs typeface="Arial"/>
              </a:rPr>
              <a:t>reference to </a:t>
            </a:r>
            <a:r>
              <a:rPr sz="1200" spc="-5" dirty="0">
                <a:latin typeface="Arial"/>
                <a:cs typeface="Arial"/>
              </a:rPr>
              <a:t>a preceding </a:t>
            </a:r>
            <a:r>
              <a:rPr sz="1200" dirty="0">
                <a:latin typeface="Arial"/>
                <a:cs typeface="Arial"/>
              </a:rPr>
              <a:t>( </a:t>
            </a:r>
            <a:r>
              <a:rPr sz="1200" spc="-5" dirty="0">
                <a:latin typeface="Arial"/>
                <a:cs typeface="Arial"/>
              </a:rPr>
              <a:t>inquiry </a:t>
            </a:r>
            <a:r>
              <a:rPr sz="1200" dirty="0">
                <a:latin typeface="Arial"/>
                <a:cs typeface="Arial"/>
              </a:rPr>
              <a:t>/ </a:t>
            </a:r>
            <a:r>
              <a:rPr sz="1200" spc="-5" dirty="0">
                <a:latin typeface="Arial"/>
                <a:cs typeface="Arial"/>
              </a:rPr>
              <a:t>quotation </a:t>
            </a:r>
            <a:r>
              <a:rPr sz="1200" dirty="0">
                <a:latin typeface="Arial"/>
                <a:cs typeface="Arial"/>
              </a:rPr>
              <a:t>/ </a:t>
            </a:r>
            <a:r>
              <a:rPr sz="1200" spc="-5" dirty="0">
                <a:latin typeface="Arial"/>
                <a:cs typeface="Arial"/>
              </a:rPr>
              <a:t>order) document. </a:t>
            </a:r>
            <a:r>
              <a:rPr sz="1200" dirty="0">
                <a:latin typeface="Arial"/>
                <a:cs typeface="Arial"/>
              </a:rPr>
              <a:t>If referred, the </a:t>
            </a:r>
            <a:r>
              <a:rPr sz="1200" spc="15" dirty="0">
                <a:latin typeface="Arial"/>
                <a:cs typeface="Arial"/>
              </a:rPr>
              <a:t>data  </a:t>
            </a:r>
            <a:r>
              <a:rPr sz="1200" spc="-5" dirty="0">
                <a:latin typeface="Arial"/>
                <a:cs typeface="Arial"/>
              </a:rPr>
              <a:t>is copied </a:t>
            </a:r>
            <a:r>
              <a:rPr sz="1200" dirty="0">
                <a:latin typeface="Arial"/>
                <a:cs typeface="Arial"/>
              </a:rPr>
              <a:t>from the </a:t>
            </a:r>
            <a:r>
              <a:rPr sz="1200" spc="-5" dirty="0">
                <a:latin typeface="Arial"/>
                <a:cs typeface="Arial"/>
              </a:rPr>
              <a:t>preceding</a:t>
            </a:r>
            <a:r>
              <a:rPr sz="1200" spc="-114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document</a:t>
            </a:r>
            <a:endParaRPr sz="1200">
              <a:latin typeface="Arial"/>
              <a:cs typeface="Arial"/>
            </a:endParaRPr>
          </a:p>
          <a:p>
            <a:pPr marL="146685" indent="-133985">
              <a:lnSpc>
                <a:spcPct val="100000"/>
              </a:lnSpc>
              <a:buChar char="•"/>
              <a:tabLst>
                <a:tab pos="147320" algn="l"/>
              </a:tabLst>
            </a:pPr>
            <a:r>
              <a:rPr sz="1200" dirty="0">
                <a:latin typeface="Arial"/>
                <a:cs typeface="Arial"/>
              </a:rPr>
              <a:t>The data </a:t>
            </a:r>
            <a:r>
              <a:rPr sz="1200" spc="-5" dirty="0">
                <a:latin typeface="Arial"/>
                <a:cs typeface="Arial"/>
              </a:rPr>
              <a:t>in a sales </a:t>
            </a:r>
            <a:r>
              <a:rPr sz="1200" dirty="0">
                <a:latin typeface="Arial"/>
                <a:cs typeface="Arial"/>
              </a:rPr>
              <a:t>document </a:t>
            </a:r>
            <a:r>
              <a:rPr sz="1200" spc="-5" dirty="0">
                <a:latin typeface="Arial"/>
                <a:cs typeface="Arial"/>
              </a:rPr>
              <a:t>is distributed </a:t>
            </a:r>
            <a:r>
              <a:rPr sz="1200" dirty="0">
                <a:latin typeface="Arial"/>
                <a:cs typeface="Arial"/>
              </a:rPr>
              <a:t>among </a:t>
            </a:r>
            <a:r>
              <a:rPr sz="1200" spc="-10" dirty="0">
                <a:latin typeface="Arial"/>
                <a:cs typeface="Arial"/>
              </a:rPr>
              <a:t>header, </a:t>
            </a:r>
            <a:r>
              <a:rPr sz="1200" dirty="0">
                <a:latin typeface="Arial"/>
                <a:cs typeface="Arial"/>
              </a:rPr>
              <a:t>item </a:t>
            </a:r>
            <a:r>
              <a:rPr sz="1200" spc="-5" dirty="0">
                <a:latin typeface="Arial"/>
                <a:cs typeface="Arial"/>
              </a:rPr>
              <a:t>and schedule line</a:t>
            </a:r>
            <a:r>
              <a:rPr sz="1200" spc="-18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levels</a:t>
            </a:r>
            <a:endParaRPr sz="1200">
              <a:latin typeface="Arial"/>
              <a:cs typeface="Arial"/>
            </a:endParaRPr>
          </a:p>
          <a:p>
            <a:pPr marL="12700" marR="459740">
              <a:lnSpc>
                <a:spcPct val="100000"/>
              </a:lnSpc>
              <a:buChar char="•"/>
              <a:tabLst>
                <a:tab pos="147320" algn="l"/>
              </a:tabLst>
            </a:pPr>
            <a:r>
              <a:rPr sz="1200" spc="-65" dirty="0">
                <a:latin typeface="Arial"/>
                <a:cs typeface="Arial"/>
              </a:rPr>
              <a:t>To </a:t>
            </a:r>
            <a:r>
              <a:rPr sz="1200" dirty="0">
                <a:latin typeface="Arial"/>
                <a:cs typeface="Arial"/>
              </a:rPr>
              <a:t>process the </a:t>
            </a:r>
            <a:r>
              <a:rPr sz="1200" spc="-5" dirty="0">
                <a:latin typeface="Arial"/>
                <a:cs typeface="Arial"/>
              </a:rPr>
              <a:t>sales </a:t>
            </a:r>
            <a:r>
              <a:rPr sz="1200" dirty="0">
                <a:latin typeface="Arial"/>
                <a:cs typeface="Arial"/>
              </a:rPr>
              <a:t>documents </a:t>
            </a:r>
            <a:r>
              <a:rPr sz="1200" spc="-5" dirty="0">
                <a:latin typeface="Arial"/>
                <a:cs typeface="Arial"/>
              </a:rPr>
              <a:t>efficiently </a:t>
            </a:r>
            <a:r>
              <a:rPr sz="1200" dirty="0">
                <a:latin typeface="Arial"/>
                <a:cs typeface="Arial"/>
              </a:rPr>
              <a:t>the data </a:t>
            </a:r>
            <a:r>
              <a:rPr sz="1200" spc="-5" dirty="0">
                <a:latin typeface="Arial"/>
                <a:cs typeface="Arial"/>
              </a:rPr>
              <a:t>can be displayed </a:t>
            </a:r>
            <a:r>
              <a:rPr sz="1200" dirty="0">
                <a:latin typeface="Arial"/>
                <a:cs typeface="Arial"/>
              </a:rPr>
              <a:t>&amp; processed </a:t>
            </a:r>
            <a:r>
              <a:rPr sz="1200" spc="-5" dirty="0">
                <a:latin typeface="Arial"/>
                <a:cs typeface="Arial"/>
              </a:rPr>
              <a:t>in different views. </a:t>
            </a:r>
            <a:r>
              <a:rPr sz="1200" dirty="0">
                <a:latin typeface="Arial"/>
                <a:cs typeface="Arial"/>
              </a:rPr>
              <a:t>The </a:t>
            </a:r>
            <a:r>
              <a:rPr sz="1200" spc="-10" dirty="0">
                <a:latin typeface="Arial"/>
                <a:cs typeface="Arial"/>
              </a:rPr>
              <a:t>views </a:t>
            </a:r>
            <a:r>
              <a:rPr sz="1200" spc="-5" dirty="0">
                <a:latin typeface="Arial"/>
                <a:cs typeface="Arial"/>
              </a:rPr>
              <a:t>are  grouped in </a:t>
            </a:r>
            <a:r>
              <a:rPr sz="1200" dirty="0">
                <a:latin typeface="Arial"/>
                <a:cs typeface="Arial"/>
              </a:rPr>
              <a:t>to </a:t>
            </a:r>
            <a:r>
              <a:rPr sz="1200" spc="-15" dirty="0">
                <a:latin typeface="Arial"/>
                <a:cs typeface="Arial"/>
              </a:rPr>
              <a:t>Overview, </a:t>
            </a:r>
            <a:r>
              <a:rPr sz="1200" dirty="0">
                <a:latin typeface="Arial"/>
                <a:cs typeface="Arial"/>
              </a:rPr>
              <a:t>Header &amp; Item</a:t>
            </a:r>
            <a:r>
              <a:rPr sz="1200" spc="-8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screens</a:t>
            </a:r>
            <a:endParaRPr sz="1200">
              <a:latin typeface="Arial"/>
              <a:cs typeface="Arial"/>
            </a:endParaRPr>
          </a:p>
          <a:p>
            <a:pPr marL="12700" marR="178435">
              <a:lnSpc>
                <a:spcPct val="100000"/>
              </a:lnSpc>
              <a:buChar char="•"/>
              <a:tabLst>
                <a:tab pos="147320" algn="l"/>
              </a:tabLst>
            </a:pPr>
            <a:r>
              <a:rPr sz="1200" dirty="0">
                <a:latin typeface="Arial"/>
                <a:cs typeface="Arial"/>
              </a:rPr>
              <a:t>The important functions </a:t>
            </a:r>
            <a:r>
              <a:rPr sz="1200" spc="-5" dirty="0">
                <a:latin typeface="Arial"/>
                <a:cs typeface="Arial"/>
              </a:rPr>
              <a:t>like </a:t>
            </a:r>
            <a:r>
              <a:rPr sz="1200" dirty="0">
                <a:latin typeface="Arial"/>
                <a:cs typeface="Arial"/>
              </a:rPr>
              <a:t>plant </a:t>
            </a:r>
            <a:r>
              <a:rPr sz="1200" spc="-5" dirty="0">
                <a:latin typeface="Arial"/>
                <a:cs typeface="Arial"/>
              </a:rPr>
              <a:t>determination, pricing, availability </a:t>
            </a:r>
            <a:r>
              <a:rPr sz="1200" dirty="0">
                <a:latin typeface="Arial"/>
                <a:cs typeface="Arial"/>
              </a:rPr>
              <a:t>check, </a:t>
            </a:r>
            <a:r>
              <a:rPr sz="1200" spc="-5" dirty="0">
                <a:latin typeface="Arial"/>
                <a:cs typeface="Arial"/>
              </a:rPr>
              <a:t>delivery scheduling, credit </a:t>
            </a:r>
            <a:r>
              <a:rPr sz="1200" dirty="0">
                <a:latin typeface="Arial"/>
                <a:cs typeface="Arial"/>
              </a:rPr>
              <a:t>check </a:t>
            </a:r>
            <a:r>
              <a:rPr sz="1200" spc="-5" dirty="0">
                <a:latin typeface="Arial"/>
                <a:cs typeface="Arial"/>
              </a:rPr>
              <a:t>are carried  </a:t>
            </a:r>
            <a:r>
              <a:rPr sz="1200" dirty="0">
                <a:latin typeface="Arial"/>
                <a:cs typeface="Arial"/>
              </a:rPr>
              <a:t>out </a:t>
            </a:r>
            <a:r>
              <a:rPr sz="1200" spc="-5" dirty="0">
                <a:latin typeface="Arial"/>
                <a:cs typeface="Arial"/>
              </a:rPr>
              <a:t>automatically depending upon </a:t>
            </a:r>
            <a:r>
              <a:rPr sz="1200" dirty="0">
                <a:latin typeface="Arial"/>
                <a:cs typeface="Arial"/>
              </a:rPr>
              <a:t>the </a:t>
            </a:r>
            <a:r>
              <a:rPr sz="1200" spc="-5" dirty="0">
                <a:latin typeface="Arial"/>
                <a:cs typeface="Arial"/>
              </a:rPr>
              <a:t>settings </a:t>
            </a:r>
            <a:r>
              <a:rPr sz="1200" dirty="0">
                <a:latin typeface="Arial"/>
                <a:cs typeface="Arial"/>
              </a:rPr>
              <a:t>that </a:t>
            </a:r>
            <a:r>
              <a:rPr sz="1200" spc="-5" dirty="0">
                <a:latin typeface="Arial"/>
                <a:cs typeface="Arial"/>
              </a:rPr>
              <a:t>are</a:t>
            </a:r>
            <a:r>
              <a:rPr sz="1200" spc="-10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don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55600" y="2351493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5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55600" y="2351493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5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483611" y="2504821"/>
            <a:ext cx="2068830" cy="4406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Existing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ocument</a:t>
            </a:r>
            <a:endParaRPr sz="1800">
              <a:latin typeface="Arial"/>
              <a:cs typeface="Arial"/>
            </a:endParaRPr>
          </a:p>
          <a:p>
            <a:pPr marL="121920">
              <a:lnSpc>
                <a:spcPct val="100000"/>
              </a:lnSpc>
              <a:spcBef>
                <a:spcPts val="20"/>
              </a:spcBef>
            </a:pPr>
            <a:r>
              <a:rPr sz="1000" b="1" spc="-5" dirty="0">
                <a:latin typeface="Arial"/>
                <a:cs typeface="Arial"/>
              </a:rPr>
              <a:t>Eg: sales</a:t>
            </a:r>
            <a:r>
              <a:rPr sz="1000" b="1" spc="-110" dirty="0">
                <a:latin typeface="Arial"/>
                <a:cs typeface="Arial"/>
              </a:rPr>
              <a:t> </a:t>
            </a:r>
            <a:r>
              <a:rPr sz="1000" b="1" spc="-5" dirty="0">
                <a:latin typeface="Arial"/>
                <a:cs typeface="Arial"/>
              </a:rPr>
              <a:t>order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55600" y="3210267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4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55600" y="3210267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4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280920" y="3439921"/>
            <a:ext cx="2425700" cy="539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971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Customizing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800"/>
              </a:spcBef>
            </a:pPr>
            <a:r>
              <a:rPr sz="1000" b="1" spc="-5" dirty="0">
                <a:latin typeface="Arial"/>
                <a:cs typeface="Arial"/>
              </a:rPr>
              <a:t>Eg: sales document type, delivery</a:t>
            </a:r>
            <a:r>
              <a:rPr sz="1000" b="1" spc="-50" dirty="0">
                <a:latin typeface="Arial"/>
                <a:cs typeface="Arial"/>
              </a:rPr>
              <a:t> </a:t>
            </a:r>
            <a:r>
              <a:rPr sz="1000" b="1" spc="-5" dirty="0">
                <a:latin typeface="Arial"/>
                <a:cs typeface="Arial"/>
              </a:rPr>
              <a:t>block</a:t>
            </a:r>
            <a:endParaRPr sz="10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55600" y="4069041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4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55600" y="4069041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4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387600" y="4222750"/>
            <a:ext cx="2259965" cy="4406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Hard-coded</a:t>
            </a:r>
            <a:r>
              <a:rPr sz="1800" b="1" spc="-6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controls</a:t>
            </a:r>
            <a:endParaRPr sz="1800">
              <a:latin typeface="Arial"/>
              <a:cs typeface="Arial"/>
            </a:endParaRPr>
          </a:p>
          <a:p>
            <a:pPr marL="64135">
              <a:lnSpc>
                <a:spcPct val="100000"/>
              </a:lnSpc>
              <a:spcBef>
                <a:spcPts val="20"/>
              </a:spcBef>
            </a:pPr>
            <a:r>
              <a:rPr sz="1000" b="1" spc="-5" dirty="0">
                <a:latin typeface="Arial"/>
                <a:cs typeface="Arial"/>
              </a:rPr>
              <a:t>Eg: </a:t>
            </a:r>
            <a:r>
              <a:rPr sz="1000" b="1" spc="-10" dirty="0">
                <a:latin typeface="Arial"/>
                <a:cs typeface="Arial"/>
              </a:rPr>
              <a:t>ABAP</a:t>
            </a:r>
            <a:r>
              <a:rPr sz="1000" b="1" spc="-55" dirty="0">
                <a:latin typeface="Arial"/>
                <a:cs typeface="Arial"/>
              </a:rPr>
              <a:t> </a:t>
            </a:r>
            <a:r>
              <a:rPr sz="1000" b="1" spc="-5" dirty="0">
                <a:latin typeface="Arial"/>
                <a:cs typeface="Arial"/>
              </a:rPr>
              <a:t>program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55600" y="1492719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5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55600" y="1492719"/>
            <a:ext cx="4495800" cy="744855"/>
          </a:xfrm>
          <a:custGeom>
            <a:avLst/>
            <a:gdLst/>
            <a:ahLst/>
            <a:cxnLst/>
            <a:rect l="l" t="t" r="r" b="b"/>
            <a:pathLst>
              <a:path w="4495800" h="744855">
                <a:moveTo>
                  <a:pt x="0" y="744258"/>
                </a:moveTo>
                <a:lnTo>
                  <a:pt x="4495800" y="744258"/>
                </a:lnTo>
                <a:lnTo>
                  <a:pt x="4495800" y="0"/>
                </a:lnTo>
                <a:lnTo>
                  <a:pt x="0" y="0"/>
                </a:lnTo>
                <a:lnTo>
                  <a:pt x="0" y="744258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454655" y="1645920"/>
            <a:ext cx="2298700" cy="4406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334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Master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1000" b="1" spc="-5" dirty="0">
                <a:latin typeface="Arial"/>
                <a:cs typeface="Arial"/>
              </a:rPr>
              <a:t>Eg: Customer master, Material</a:t>
            </a:r>
            <a:r>
              <a:rPr sz="1000" b="1" spc="-3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Master</a:t>
            </a:r>
            <a:endParaRPr sz="10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394707" y="2416406"/>
            <a:ext cx="1169670" cy="846455"/>
          </a:xfrm>
          <a:custGeom>
            <a:avLst/>
            <a:gdLst/>
            <a:ahLst/>
            <a:cxnLst/>
            <a:rect l="l" t="t" r="r" b="b"/>
            <a:pathLst>
              <a:path w="1169670" h="846454">
                <a:moveTo>
                  <a:pt x="1000945" y="0"/>
                </a:moveTo>
                <a:lnTo>
                  <a:pt x="0" y="178649"/>
                </a:lnTo>
                <a:lnTo>
                  <a:pt x="0" y="212000"/>
                </a:lnTo>
                <a:lnTo>
                  <a:pt x="4205" y="248723"/>
                </a:lnTo>
                <a:lnTo>
                  <a:pt x="12617" y="295461"/>
                </a:lnTo>
                <a:lnTo>
                  <a:pt x="44160" y="407288"/>
                </a:lnTo>
                <a:lnTo>
                  <a:pt x="96730" y="594234"/>
                </a:lnTo>
                <a:lnTo>
                  <a:pt x="168229" y="846268"/>
                </a:lnTo>
                <a:lnTo>
                  <a:pt x="1169176" y="660996"/>
                </a:lnTo>
                <a:lnTo>
                  <a:pt x="1080855" y="367234"/>
                </a:lnTo>
                <a:lnTo>
                  <a:pt x="1032489" y="208661"/>
                </a:lnTo>
                <a:lnTo>
                  <a:pt x="1009357" y="136869"/>
                </a:lnTo>
                <a:lnTo>
                  <a:pt x="998842" y="96821"/>
                </a:lnTo>
                <a:lnTo>
                  <a:pt x="994637" y="78496"/>
                </a:lnTo>
                <a:lnTo>
                  <a:pt x="992534" y="60105"/>
                </a:lnTo>
                <a:lnTo>
                  <a:pt x="992534" y="45112"/>
                </a:lnTo>
                <a:lnTo>
                  <a:pt x="994637" y="30052"/>
                </a:lnTo>
                <a:lnTo>
                  <a:pt x="998842" y="8396"/>
                </a:lnTo>
                <a:lnTo>
                  <a:pt x="1000945" y="0"/>
                </a:lnTo>
                <a:close/>
              </a:path>
            </a:pathLst>
          </a:custGeom>
          <a:solidFill>
            <a:srgbClr val="AFB6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390501" y="2409742"/>
            <a:ext cx="1211580" cy="822960"/>
          </a:xfrm>
          <a:custGeom>
            <a:avLst/>
            <a:gdLst/>
            <a:ahLst/>
            <a:cxnLst/>
            <a:rect l="l" t="t" r="r" b="b"/>
            <a:pathLst>
              <a:path w="1211580" h="822960">
                <a:moveTo>
                  <a:pt x="1013563" y="0"/>
                </a:moveTo>
                <a:lnTo>
                  <a:pt x="0" y="175251"/>
                </a:lnTo>
                <a:lnTo>
                  <a:pt x="2103" y="210321"/>
                </a:lnTo>
                <a:lnTo>
                  <a:pt x="6308" y="247043"/>
                </a:lnTo>
                <a:lnTo>
                  <a:pt x="16823" y="290436"/>
                </a:lnTo>
                <a:lnTo>
                  <a:pt x="50469" y="398932"/>
                </a:lnTo>
                <a:lnTo>
                  <a:pt x="109348" y="579194"/>
                </a:lnTo>
                <a:lnTo>
                  <a:pt x="189258" y="822888"/>
                </a:lnTo>
                <a:lnTo>
                  <a:pt x="1211234" y="639286"/>
                </a:lnTo>
                <a:lnTo>
                  <a:pt x="1127119" y="385578"/>
                </a:lnTo>
                <a:lnTo>
                  <a:pt x="1034592" y="96821"/>
                </a:lnTo>
                <a:lnTo>
                  <a:pt x="1026180" y="60105"/>
                </a:lnTo>
                <a:lnTo>
                  <a:pt x="1013563" y="0"/>
                </a:lnTo>
                <a:close/>
              </a:path>
            </a:pathLst>
          </a:custGeom>
          <a:solidFill>
            <a:srgbClr val="FDE6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827900" y="2498234"/>
            <a:ext cx="170815" cy="133985"/>
          </a:xfrm>
          <a:custGeom>
            <a:avLst/>
            <a:gdLst/>
            <a:ahLst/>
            <a:cxnLst/>
            <a:rect l="l" t="t" r="r" b="b"/>
            <a:pathLst>
              <a:path w="170814" h="133985">
                <a:moveTo>
                  <a:pt x="94629" y="0"/>
                </a:moveTo>
                <a:lnTo>
                  <a:pt x="77806" y="0"/>
                </a:lnTo>
                <a:lnTo>
                  <a:pt x="60983" y="1665"/>
                </a:lnTo>
                <a:lnTo>
                  <a:pt x="44160" y="6663"/>
                </a:lnTo>
                <a:lnTo>
                  <a:pt x="31543" y="13327"/>
                </a:lnTo>
                <a:lnTo>
                  <a:pt x="18925" y="21656"/>
                </a:lnTo>
                <a:lnTo>
                  <a:pt x="10514" y="33384"/>
                </a:lnTo>
                <a:lnTo>
                  <a:pt x="2102" y="45045"/>
                </a:lnTo>
                <a:lnTo>
                  <a:pt x="0" y="58372"/>
                </a:lnTo>
                <a:lnTo>
                  <a:pt x="0" y="71766"/>
                </a:lnTo>
                <a:lnTo>
                  <a:pt x="16823" y="106809"/>
                </a:lnTo>
                <a:lnTo>
                  <a:pt x="58880" y="130172"/>
                </a:lnTo>
                <a:lnTo>
                  <a:pt x="75703" y="133510"/>
                </a:lnTo>
                <a:lnTo>
                  <a:pt x="92526" y="133510"/>
                </a:lnTo>
                <a:lnTo>
                  <a:pt x="138790" y="120163"/>
                </a:lnTo>
                <a:lnTo>
                  <a:pt x="166127" y="88425"/>
                </a:lnTo>
                <a:lnTo>
                  <a:pt x="170333" y="75098"/>
                </a:lnTo>
                <a:lnTo>
                  <a:pt x="170333" y="61770"/>
                </a:lnTo>
                <a:lnTo>
                  <a:pt x="151407" y="24988"/>
                </a:lnTo>
                <a:lnTo>
                  <a:pt x="111452" y="3331"/>
                </a:lnTo>
                <a:lnTo>
                  <a:pt x="94629" y="0"/>
                </a:lnTo>
                <a:close/>
              </a:path>
            </a:pathLst>
          </a:custGeom>
          <a:solidFill>
            <a:srgbClr val="DDC75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836311" y="2514893"/>
            <a:ext cx="55244" cy="97155"/>
          </a:xfrm>
          <a:custGeom>
            <a:avLst/>
            <a:gdLst/>
            <a:ahLst/>
            <a:cxnLst/>
            <a:rect l="l" t="t" r="r" b="b"/>
            <a:pathLst>
              <a:path w="55244" h="97155">
                <a:moveTo>
                  <a:pt x="16823" y="0"/>
                </a:moveTo>
                <a:lnTo>
                  <a:pt x="8411" y="8329"/>
                </a:lnTo>
                <a:lnTo>
                  <a:pt x="4205" y="18391"/>
                </a:lnTo>
                <a:lnTo>
                  <a:pt x="0" y="28386"/>
                </a:lnTo>
                <a:lnTo>
                  <a:pt x="0" y="48443"/>
                </a:lnTo>
                <a:lnTo>
                  <a:pt x="2102" y="56773"/>
                </a:lnTo>
                <a:lnTo>
                  <a:pt x="33646" y="91816"/>
                </a:lnTo>
                <a:lnTo>
                  <a:pt x="44160" y="96827"/>
                </a:lnTo>
                <a:lnTo>
                  <a:pt x="54674" y="85140"/>
                </a:lnTo>
                <a:lnTo>
                  <a:pt x="44160" y="80162"/>
                </a:lnTo>
                <a:lnTo>
                  <a:pt x="35749" y="75098"/>
                </a:lnTo>
                <a:lnTo>
                  <a:pt x="29440" y="68434"/>
                </a:lnTo>
                <a:lnTo>
                  <a:pt x="21028" y="61770"/>
                </a:lnTo>
                <a:lnTo>
                  <a:pt x="12617" y="45112"/>
                </a:lnTo>
                <a:lnTo>
                  <a:pt x="10514" y="36716"/>
                </a:lnTo>
                <a:lnTo>
                  <a:pt x="8411" y="26720"/>
                </a:lnTo>
                <a:lnTo>
                  <a:pt x="10514" y="13393"/>
                </a:lnTo>
                <a:lnTo>
                  <a:pt x="16823" y="0"/>
                </a:lnTo>
                <a:close/>
              </a:path>
            </a:pathLst>
          </a:custGeom>
          <a:solidFill>
            <a:srgbClr val="837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880472" y="2579996"/>
            <a:ext cx="113664" cy="40640"/>
          </a:xfrm>
          <a:custGeom>
            <a:avLst/>
            <a:gdLst/>
            <a:ahLst/>
            <a:cxnLst/>
            <a:rect l="l" t="t" r="r" b="b"/>
            <a:pathLst>
              <a:path w="113664" h="40639">
                <a:moveTo>
                  <a:pt x="10514" y="20037"/>
                </a:moveTo>
                <a:lnTo>
                  <a:pt x="0" y="31725"/>
                </a:lnTo>
                <a:lnTo>
                  <a:pt x="18925" y="36729"/>
                </a:lnTo>
                <a:lnTo>
                  <a:pt x="27337" y="38401"/>
                </a:lnTo>
                <a:lnTo>
                  <a:pt x="37851" y="40067"/>
                </a:lnTo>
                <a:lnTo>
                  <a:pt x="63086" y="36729"/>
                </a:lnTo>
                <a:lnTo>
                  <a:pt x="73600" y="33390"/>
                </a:lnTo>
                <a:lnTo>
                  <a:pt x="84115" y="28386"/>
                </a:lnTo>
                <a:lnTo>
                  <a:pt x="86922" y="26714"/>
                </a:lnTo>
                <a:lnTo>
                  <a:pt x="48366" y="26714"/>
                </a:lnTo>
                <a:lnTo>
                  <a:pt x="27337" y="25048"/>
                </a:lnTo>
                <a:lnTo>
                  <a:pt x="10514" y="20037"/>
                </a:lnTo>
                <a:close/>
              </a:path>
              <a:path w="113664" h="40639">
                <a:moveTo>
                  <a:pt x="113555" y="0"/>
                </a:moveTo>
                <a:lnTo>
                  <a:pt x="100938" y="11661"/>
                </a:lnTo>
                <a:lnTo>
                  <a:pt x="84115" y="20037"/>
                </a:lnTo>
                <a:lnTo>
                  <a:pt x="67292" y="25048"/>
                </a:lnTo>
                <a:lnTo>
                  <a:pt x="48366" y="26714"/>
                </a:lnTo>
                <a:lnTo>
                  <a:pt x="86922" y="26714"/>
                </a:lnTo>
                <a:lnTo>
                  <a:pt x="92526" y="23375"/>
                </a:lnTo>
                <a:lnTo>
                  <a:pt x="100938" y="16725"/>
                </a:lnTo>
                <a:lnTo>
                  <a:pt x="107247" y="8329"/>
                </a:lnTo>
                <a:lnTo>
                  <a:pt x="113555" y="0"/>
                </a:lnTo>
                <a:close/>
              </a:path>
            </a:pathLst>
          </a:custGeom>
          <a:solidFill>
            <a:srgbClr val="615A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44723" y="2479843"/>
            <a:ext cx="164465" cy="127000"/>
          </a:xfrm>
          <a:custGeom>
            <a:avLst/>
            <a:gdLst/>
            <a:ahLst/>
            <a:cxnLst/>
            <a:rect l="l" t="t" r="r" b="b"/>
            <a:pathLst>
              <a:path w="164464" h="127000">
                <a:moveTo>
                  <a:pt x="82012" y="0"/>
                </a:moveTo>
                <a:lnTo>
                  <a:pt x="35749" y="10061"/>
                </a:lnTo>
                <a:lnTo>
                  <a:pt x="6308" y="38381"/>
                </a:lnTo>
                <a:lnTo>
                  <a:pt x="0" y="50109"/>
                </a:lnTo>
                <a:lnTo>
                  <a:pt x="0" y="76763"/>
                </a:lnTo>
                <a:lnTo>
                  <a:pt x="23131" y="108482"/>
                </a:lnTo>
                <a:lnTo>
                  <a:pt x="65189" y="125201"/>
                </a:lnTo>
                <a:lnTo>
                  <a:pt x="82012" y="126867"/>
                </a:lnTo>
                <a:lnTo>
                  <a:pt x="98835" y="125201"/>
                </a:lnTo>
                <a:lnTo>
                  <a:pt x="138790" y="108482"/>
                </a:lnTo>
                <a:lnTo>
                  <a:pt x="161922" y="76763"/>
                </a:lnTo>
                <a:lnTo>
                  <a:pt x="164024" y="63436"/>
                </a:lnTo>
                <a:lnTo>
                  <a:pt x="161922" y="50109"/>
                </a:lnTo>
                <a:lnTo>
                  <a:pt x="138790" y="18391"/>
                </a:lnTo>
                <a:lnTo>
                  <a:pt x="98835" y="1665"/>
                </a:lnTo>
                <a:lnTo>
                  <a:pt x="82012" y="0"/>
                </a:lnTo>
                <a:close/>
              </a:path>
            </a:pathLst>
          </a:custGeom>
          <a:solidFill>
            <a:srgbClr val="B7AD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890986" y="2549943"/>
            <a:ext cx="113664" cy="57150"/>
          </a:xfrm>
          <a:custGeom>
            <a:avLst/>
            <a:gdLst/>
            <a:ahLst/>
            <a:cxnLst/>
            <a:rect l="l" t="t" r="r" b="b"/>
            <a:pathLst>
              <a:path w="113664" h="57150">
                <a:moveTo>
                  <a:pt x="82012" y="0"/>
                </a:moveTo>
                <a:lnTo>
                  <a:pt x="14720" y="21723"/>
                </a:lnTo>
                <a:lnTo>
                  <a:pt x="0" y="50089"/>
                </a:lnTo>
                <a:lnTo>
                  <a:pt x="16823" y="55100"/>
                </a:lnTo>
                <a:lnTo>
                  <a:pt x="35749" y="56766"/>
                </a:lnTo>
                <a:lnTo>
                  <a:pt x="48366" y="56766"/>
                </a:lnTo>
                <a:lnTo>
                  <a:pt x="94629" y="38381"/>
                </a:lnTo>
                <a:lnTo>
                  <a:pt x="113555" y="13393"/>
                </a:lnTo>
                <a:lnTo>
                  <a:pt x="82012" y="0"/>
                </a:lnTo>
                <a:close/>
              </a:path>
            </a:pathLst>
          </a:custGeom>
          <a:solidFill>
            <a:srgbClr val="A49C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878369" y="2506563"/>
            <a:ext cx="73660" cy="70485"/>
          </a:xfrm>
          <a:custGeom>
            <a:avLst/>
            <a:gdLst/>
            <a:ahLst/>
            <a:cxnLst/>
            <a:rect l="l" t="t" r="r" b="b"/>
            <a:pathLst>
              <a:path w="73660" h="70485">
                <a:moveTo>
                  <a:pt x="48366" y="0"/>
                </a:moveTo>
                <a:lnTo>
                  <a:pt x="39954" y="0"/>
                </a:lnTo>
                <a:lnTo>
                  <a:pt x="29440" y="3331"/>
                </a:lnTo>
                <a:lnTo>
                  <a:pt x="23131" y="6663"/>
                </a:lnTo>
                <a:lnTo>
                  <a:pt x="14720" y="9995"/>
                </a:lnTo>
                <a:lnTo>
                  <a:pt x="8411" y="14992"/>
                </a:lnTo>
                <a:lnTo>
                  <a:pt x="4205" y="21723"/>
                </a:lnTo>
                <a:lnTo>
                  <a:pt x="0" y="35050"/>
                </a:lnTo>
                <a:lnTo>
                  <a:pt x="4205" y="51775"/>
                </a:lnTo>
                <a:lnTo>
                  <a:pt x="16823" y="65102"/>
                </a:lnTo>
                <a:lnTo>
                  <a:pt x="25234" y="70100"/>
                </a:lnTo>
                <a:lnTo>
                  <a:pt x="73600" y="6663"/>
                </a:lnTo>
                <a:lnTo>
                  <a:pt x="67292" y="3331"/>
                </a:lnTo>
                <a:lnTo>
                  <a:pt x="56777" y="1665"/>
                </a:lnTo>
                <a:lnTo>
                  <a:pt x="48366" y="0"/>
                </a:lnTo>
                <a:close/>
              </a:path>
            </a:pathLst>
          </a:custGeom>
          <a:solidFill>
            <a:srgbClr val="716A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903603" y="2513227"/>
            <a:ext cx="69850" cy="67310"/>
          </a:xfrm>
          <a:custGeom>
            <a:avLst/>
            <a:gdLst/>
            <a:ahLst/>
            <a:cxnLst/>
            <a:rect l="l" t="t" r="r" b="b"/>
            <a:pathLst>
              <a:path w="69850" h="67310">
                <a:moveTo>
                  <a:pt x="48366" y="0"/>
                </a:moveTo>
                <a:lnTo>
                  <a:pt x="0" y="63436"/>
                </a:lnTo>
                <a:lnTo>
                  <a:pt x="8411" y="65102"/>
                </a:lnTo>
                <a:lnTo>
                  <a:pt x="18925" y="66768"/>
                </a:lnTo>
                <a:lnTo>
                  <a:pt x="56777" y="55107"/>
                </a:lnTo>
                <a:lnTo>
                  <a:pt x="69395" y="30052"/>
                </a:lnTo>
                <a:lnTo>
                  <a:pt x="65189" y="16725"/>
                </a:lnTo>
                <a:lnTo>
                  <a:pt x="60983" y="9995"/>
                </a:lnTo>
                <a:lnTo>
                  <a:pt x="48366" y="0"/>
                </a:lnTo>
                <a:close/>
              </a:path>
            </a:pathLst>
          </a:custGeom>
          <a:solidFill>
            <a:srgbClr val="615A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884677" y="2494902"/>
            <a:ext cx="50800" cy="70485"/>
          </a:xfrm>
          <a:custGeom>
            <a:avLst/>
            <a:gdLst/>
            <a:ahLst/>
            <a:cxnLst/>
            <a:rect l="l" t="t" r="r" b="b"/>
            <a:pathLst>
              <a:path w="50800" h="70485">
                <a:moveTo>
                  <a:pt x="12617" y="0"/>
                </a:moveTo>
                <a:lnTo>
                  <a:pt x="4205" y="13327"/>
                </a:lnTo>
                <a:lnTo>
                  <a:pt x="2102" y="19990"/>
                </a:lnTo>
                <a:lnTo>
                  <a:pt x="0" y="28320"/>
                </a:lnTo>
                <a:lnTo>
                  <a:pt x="2102" y="35050"/>
                </a:lnTo>
                <a:lnTo>
                  <a:pt x="6308" y="48377"/>
                </a:lnTo>
                <a:lnTo>
                  <a:pt x="12617" y="55040"/>
                </a:lnTo>
                <a:lnTo>
                  <a:pt x="16823" y="60038"/>
                </a:lnTo>
                <a:lnTo>
                  <a:pt x="23131" y="63436"/>
                </a:lnTo>
                <a:lnTo>
                  <a:pt x="39954" y="70100"/>
                </a:lnTo>
                <a:lnTo>
                  <a:pt x="50469" y="58372"/>
                </a:lnTo>
                <a:lnTo>
                  <a:pt x="42057" y="56706"/>
                </a:lnTo>
                <a:lnTo>
                  <a:pt x="33646" y="51709"/>
                </a:lnTo>
                <a:lnTo>
                  <a:pt x="27337" y="48377"/>
                </a:lnTo>
                <a:lnTo>
                  <a:pt x="21028" y="43379"/>
                </a:lnTo>
                <a:lnTo>
                  <a:pt x="12617" y="30052"/>
                </a:lnTo>
                <a:lnTo>
                  <a:pt x="10514" y="23322"/>
                </a:lnTo>
                <a:lnTo>
                  <a:pt x="10514" y="8329"/>
                </a:lnTo>
                <a:lnTo>
                  <a:pt x="12617" y="0"/>
                </a:lnTo>
                <a:close/>
              </a:path>
            </a:pathLst>
          </a:custGeom>
          <a:solidFill>
            <a:srgbClr val="837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924632" y="2538282"/>
            <a:ext cx="69850" cy="28575"/>
          </a:xfrm>
          <a:custGeom>
            <a:avLst/>
            <a:gdLst/>
            <a:ahLst/>
            <a:cxnLst/>
            <a:rect l="l" t="t" r="r" b="b"/>
            <a:pathLst>
              <a:path w="69850" h="28575">
                <a:moveTo>
                  <a:pt x="10514" y="14992"/>
                </a:moveTo>
                <a:lnTo>
                  <a:pt x="0" y="26720"/>
                </a:lnTo>
                <a:lnTo>
                  <a:pt x="8411" y="28386"/>
                </a:lnTo>
                <a:lnTo>
                  <a:pt x="25234" y="28386"/>
                </a:lnTo>
                <a:lnTo>
                  <a:pt x="42057" y="25054"/>
                </a:lnTo>
                <a:lnTo>
                  <a:pt x="48366" y="21723"/>
                </a:lnTo>
                <a:lnTo>
                  <a:pt x="54716" y="16658"/>
                </a:lnTo>
                <a:lnTo>
                  <a:pt x="25234" y="16658"/>
                </a:lnTo>
                <a:lnTo>
                  <a:pt x="10514" y="14992"/>
                </a:lnTo>
                <a:close/>
              </a:path>
              <a:path w="69850" h="28575">
                <a:moveTo>
                  <a:pt x="69395" y="0"/>
                </a:moveTo>
                <a:lnTo>
                  <a:pt x="60983" y="6663"/>
                </a:lnTo>
                <a:lnTo>
                  <a:pt x="50469" y="11661"/>
                </a:lnTo>
                <a:lnTo>
                  <a:pt x="37851" y="14992"/>
                </a:lnTo>
                <a:lnTo>
                  <a:pt x="25234" y="16658"/>
                </a:lnTo>
                <a:lnTo>
                  <a:pt x="54716" y="16658"/>
                </a:lnTo>
                <a:lnTo>
                  <a:pt x="60983" y="11661"/>
                </a:lnTo>
                <a:lnTo>
                  <a:pt x="69395" y="0"/>
                </a:lnTo>
                <a:close/>
              </a:path>
            </a:pathLst>
          </a:custGeom>
          <a:solidFill>
            <a:srgbClr val="615A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893089" y="2466516"/>
            <a:ext cx="113664" cy="88900"/>
          </a:xfrm>
          <a:custGeom>
            <a:avLst/>
            <a:gdLst/>
            <a:ahLst/>
            <a:cxnLst/>
            <a:rect l="l" t="t" r="r" b="b"/>
            <a:pathLst>
              <a:path w="113664" h="88900">
                <a:moveTo>
                  <a:pt x="69395" y="0"/>
                </a:moveTo>
                <a:lnTo>
                  <a:pt x="46263" y="0"/>
                </a:lnTo>
                <a:lnTo>
                  <a:pt x="25234" y="6663"/>
                </a:lnTo>
                <a:lnTo>
                  <a:pt x="0" y="45045"/>
                </a:lnTo>
                <a:lnTo>
                  <a:pt x="2102" y="53374"/>
                </a:lnTo>
                <a:lnTo>
                  <a:pt x="46263" y="88425"/>
                </a:lnTo>
                <a:lnTo>
                  <a:pt x="69395" y="88425"/>
                </a:lnTo>
                <a:lnTo>
                  <a:pt x="109349" y="61770"/>
                </a:lnTo>
                <a:lnTo>
                  <a:pt x="113555" y="45045"/>
                </a:lnTo>
                <a:lnTo>
                  <a:pt x="111452" y="35050"/>
                </a:lnTo>
                <a:lnTo>
                  <a:pt x="79909" y="3331"/>
                </a:lnTo>
                <a:lnTo>
                  <a:pt x="69395" y="0"/>
                </a:lnTo>
                <a:close/>
              </a:path>
            </a:pathLst>
          </a:custGeom>
          <a:solidFill>
            <a:srgbClr val="B7AD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1574672" y="2776982"/>
            <a:ext cx="49212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Sales  </a:t>
            </a:r>
            <a:r>
              <a:rPr sz="1400" b="1" spc="-10" dirty="0">
                <a:latin typeface="Arial"/>
                <a:cs typeface="Arial"/>
              </a:rPr>
              <a:t>o</a:t>
            </a:r>
            <a:r>
              <a:rPr sz="1400" b="1" dirty="0">
                <a:latin typeface="Arial"/>
                <a:cs typeface="Arial"/>
              </a:rPr>
              <a:t>r</a:t>
            </a:r>
            <a:r>
              <a:rPr sz="1400" b="1" spc="-10" dirty="0">
                <a:latin typeface="Arial"/>
                <a:cs typeface="Arial"/>
              </a:rPr>
              <a:t>d</a:t>
            </a:r>
            <a:r>
              <a:rPr sz="1400" b="1" dirty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88458" y="3271180"/>
            <a:ext cx="636888" cy="69211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48271" y="2294293"/>
            <a:ext cx="642251" cy="62975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19811" y="4069053"/>
            <a:ext cx="770103" cy="73329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84047" y="1502657"/>
            <a:ext cx="1010574" cy="66222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5600" y="1206474"/>
            <a:ext cx="4495800" cy="229235"/>
          </a:xfrm>
          <a:custGeom>
            <a:avLst/>
            <a:gdLst/>
            <a:ahLst/>
            <a:cxnLst/>
            <a:rect l="l" t="t" r="r" b="b"/>
            <a:pathLst>
              <a:path w="4495800" h="229234">
                <a:moveTo>
                  <a:pt x="0" y="229006"/>
                </a:moveTo>
                <a:lnTo>
                  <a:pt x="4495800" y="229006"/>
                </a:lnTo>
                <a:lnTo>
                  <a:pt x="4495800" y="0"/>
                </a:lnTo>
                <a:lnTo>
                  <a:pt x="0" y="0"/>
                </a:lnTo>
                <a:lnTo>
                  <a:pt x="0" y="229006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55600" y="1206474"/>
            <a:ext cx="4495800" cy="229235"/>
          </a:xfrm>
          <a:custGeom>
            <a:avLst/>
            <a:gdLst/>
            <a:ahLst/>
            <a:cxnLst/>
            <a:rect l="l" t="t" r="r" b="b"/>
            <a:pathLst>
              <a:path w="4495800" h="229234">
                <a:moveTo>
                  <a:pt x="0" y="229006"/>
                </a:moveTo>
                <a:lnTo>
                  <a:pt x="4495800" y="229006"/>
                </a:lnTo>
                <a:lnTo>
                  <a:pt x="4495800" y="0"/>
                </a:lnTo>
                <a:lnTo>
                  <a:pt x="0" y="0"/>
                </a:lnTo>
                <a:lnTo>
                  <a:pt x="0" y="22900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1047699" y="1178052"/>
            <a:ext cx="3110230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Data sources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sales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order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865632" y="2452242"/>
            <a:ext cx="838835" cy="261620"/>
          </a:xfrm>
          <a:custGeom>
            <a:avLst/>
            <a:gdLst/>
            <a:ahLst/>
            <a:cxnLst/>
            <a:rect l="l" t="t" r="r" b="b"/>
            <a:pathLst>
              <a:path w="838835" h="261619">
                <a:moveTo>
                  <a:pt x="752289" y="233839"/>
                </a:moveTo>
                <a:lnTo>
                  <a:pt x="744728" y="261493"/>
                </a:lnTo>
                <a:lnTo>
                  <a:pt x="838707" y="242824"/>
                </a:lnTo>
                <a:lnTo>
                  <a:pt x="832901" y="237617"/>
                </a:lnTo>
                <a:lnTo>
                  <a:pt x="766063" y="237617"/>
                </a:lnTo>
                <a:lnTo>
                  <a:pt x="752289" y="233839"/>
                </a:lnTo>
                <a:close/>
              </a:path>
              <a:path w="838835" h="261619">
                <a:moveTo>
                  <a:pt x="759821" y="206291"/>
                </a:moveTo>
                <a:lnTo>
                  <a:pt x="752289" y="233839"/>
                </a:lnTo>
                <a:lnTo>
                  <a:pt x="766063" y="237617"/>
                </a:lnTo>
                <a:lnTo>
                  <a:pt x="773557" y="210058"/>
                </a:lnTo>
                <a:lnTo>
                  <a:pt x="759821" y="206291"/>
                </a:lnTo>
                <a:close/>
              </a:path>
              <a:path w="838835" h="261619">
                <a:moveTo>
                  <a:pt x="767334" y="178816"/>
                </a:moveTo>
                <a:lnTo>
                  <a:pt x="759821" y="206291"/>
                </a:lnTo>
                <a:lnTo>
                  <a:pt x="773557" y="210058"/>
                </a:lnTo>
                <a:lnTo>
                  <a:pt x="766063" y="237617"/>
                </a:lnTo>
                <a:lnTo>
                  <a:pt x="832901" y="237617"/>
                </a:lnTo>
                <a:lnTo>
                  <a:pt x="767334" y="178816"/>
                </a:lnTo>
                <a:close/>
              </a:path>
              <a:path w="838835" h="261619">
                <a:moveTo>
                  <a:pt x="7556" y="0"/>
                </a:moveTo>
                <a:lnTo>
                  <a:pt x="0" y="27559"/>
                </a:lnTo>
                <a:lnTo>
                  <a:pt x="752289" y="233839"/>
                </a:lnTo>
                <a:lnTo>
                  <a:pt x="759821" y="206291"/>
                </a:lnTo>
                <a:lnTo>
                  <a:pt x="755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242910" y="2057273"/>
            <a:ext cx="397510" cy="581025"/>
          </a:xfrm>
          <a:custGeom>
            <a:avLst/>
            <a:gdLst/>
            <a:ahLst/>
            <a:cxnLst/>
            <a:rect l="l" t="t" r="r" b="b"/>
            <a:pathLst>
              <a:path w="397510" h="581025">
                <a:moveTo>
                  <a:pt x="337459" y="517296"/>
                </a:moveTo>
                <a:lnTo>
                  <a:pt x="313728" y="533273"/>
                </a:lnTo>
                <a:lnTo>
                  <a:pt x="397167" y="580516"/>
                </a:lnTo>
                <a:lnTo>
                  <a:pt x="390522" y="529209"/>
                </a:lnTo>
                <a:lnTo>
                  <a:pt x="345478" y="529209"/>
                </a:lnTo>
                <a:lnTo>
                  <a:pt x="337459" y="517296"/>
                </a:lnTo>
                <a:close/>
              </a:path>
              <a:path w="397510" h="581025">
                <a:moveTo>
                  <a:pt x="361213" y="501304"/>
                </a:moveTo>
                <a:lnTo>
                  <a:pt x="337459" y="517296"/>
                </a:lnTo>
                <a:lnTo>
                  <a:pt x="345478" y="529209"/>
                </a:lnTo>
                <a:lnTo>
                  <a:pt x="369227" y="513206"/>
                </a:lnTo>
                <a:lnTo>
                  <a:pt x="361213" y="501304"/>
                </a:lnTo>
                <a:close/>
              </a:path>
              <a:path w="397510" h="581025">
                <a:moveTo>
                  <a:pt x="384848" y="485393"/>
                </a:moveTo>
                <a:lnTo>
                  <a:pt x="361213" y="501304"/>
                </a:lnTo>
                <a:lnTo>
                  <a:pt x="369227" y="513206"/>
                </a:lnTo>
                <a:lnTo>
                  <a:pt x="345478" y="529209"/>
                </a:lnTo>
                <a:lnTo>
                  <a:pt x="390522" y="529209"/>
                </a:lnTo>
                <a:lnTo>
                  <a:pt x="384848" y="485393"/>
                </a:lnTo>
                <a:close/>
              </a:path>
              <a:path w="397510" h="581025">
                <a:moveTo>
                  <a:pt x="23698" y="0"/>
                </a:moveTo>
                <a:lnTo>
                  <a:pt x="0" y="16001"/>
                </a:lnTo>
                <a:lnTo>
                  <a:pt x="337459" y="517296"/>
                </a:lnTo>
                <a:lnTo>
                  <a:pt x="361213" y="501304"/>
                </a:lnTo>
                <a:lnTo>
                  <a:pt x="2369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049959" y="3153029"/>
            <a:ext cx="654685" cy="1038225"/>
          </a:xfrm>
          <a:custGeom>
            <a:avLst/>
            <a:gdLst/>
            <a:ahLst/>
            <a:cxnLst/>
            <a:rect l="l" t="t" r="r" b="b"/>
            <a:pathLst>
              <a:path w="654685" h="1038225">
                <a:moveTo>
                  <a:pt x="596945" y="65158"/>
                </a:moveTo>
                <a:lnTo>
                  <a:pt x="0" y="1022985"/>
                </a:lnTo>
                <a:lnTo>
                  <a:pt x="24244" y="1038098"/>
                </a:lnTo>
                <a:lnTo>
                  <a:pt x="621190" y="80290"/>
                </a:lnTo>
                <a:lnTo>
                  <a:pt x="596945" y="65158"/>
                </a:lnTo>
                <a:close/>
              </a:path>
              <a:path w="654685" h="1038225">
                <a:moveTo>
                  <a:pt x="649361" y="53086"/>
                </a:moveTo>
                <a:lnTo>
                  <a:pt x="604469" y="53086"/>
                </a:lnTo>
                <a:lnTo>
                  <a:pt x="628726" y="68199"/>
                </a:lnTo>
                <a:lnTo>
                  <a:pt x="621190" y="80290"/>
                </a:lnTo>
                <a:lnTo>
                  <a:pt x="645363" y="95376"/>
                </a:lnTo>
                <a:lnTo>
                  <a:pt x="649361" y="53086"/>
                </a:lnTo>
                <a:close/>
              </a:path>
              <a:path w="654685" h="1038225">
                <a:moveTo>
                  <a:pt x="604469" y="53086"/>
                </a:moveTo>
                <a:lnTo>
                  <a:pt x="596945" y="65158"/>
                </a:lnTo>
                <a:lnTo>
                  <a:pt x="621190" y="80290"/>
                </a:lnTo>
                <a:lnTo>
                  <a:pt x="628726" y="68199"/>
                </a:lnTo>
                <a:lnTo>
                  <a:pt x="604469" y="53086"/>
                </a:lnTo>
                <a:close/>
              </a:path>
              <a:path w="654685" h="1038225">
                <a:moveTo>
                  <a:pt x="654380" y="0"/>
                </a:moveTo>
                <a:lnTo>
                  <a:pt x="572719" y="50037"/>
                </a:lnTo>
                <a:lnTo>
                  <a:pt x="596945" y="65158"/>
                </a:lnTo>
                <a:lnTo>
                  <a:pt x="604469" y="53086"/>
                </a:lnTo>
                <a:lnTo>
                  <a:pt x="649361" y="53086"/>
                </a:lnTo>
                <a:lnTo>
                  <a:pt x="6543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000886" y="3148583"/>
            <a:ext cx="587375" cy="359410"/>
          </a:xfrm>
          <a:custGeom>
            <a:avLst/>
            <a:gdLst/>
            <a:ahLst/>
            <a:cxnLst/>
            <a:rect l="l" t="t" r="r" b="b"/>
            <a:pathLst>
              <a:path w="587375" h="359410">
                <a:moveTo>
                  <a:pt x="506507" y="31732"/>
                </a:moveTo>
                <a:lnTo>
                  <a:pt x="0" y="334644"/>
                </a:lnTo>
                <a:lnTo>
                  <a:pt x="14655" y="359155"/>
                </a:lnTo>
                <a:lnTo>
                  <a:pt x="521144" y="56225"/>
                </a:lnTo>
                <a:lnTo>
                  <a:pt x="506507" y="31732"/>
                </a:lnTo>
                <a:close/>
              </a:path>
              <a:path w="587375" h="359410">
                <a:moveTo>
                  <a:pt x="571809" y="24383"/>
                </a:moveTo>
                <a:lnTo>
                  <a:pt x="518794" y="24383"/>
                </a:lnTo>
                <a:lnTo>
                  <a:pt x="533400" y="48894"/>
                </a:lnTo>
                <a:lnTo>
                  <a:pt x="521144" y="56225"/>
                </a:lnTo>
                <a:lnTo>
                  <a:pt x="535813" y="80771"/>
                </a:lnTo>
                <a:lnTo>
                  <a:pt x="571809" y="24383"/>
                </a:lnTo>
                <a:close/>
              </a:path>
              <a:path w="587375" h="359410">
                <a:moveTo>
                  <a:pt x="518794" y="24383"/>
                </a:moveTo>
                <a:lnTo>
                  <a:pt x="506507" y="31732"/>
                </a:lnTo>
                <a:lnTo>
                  <a:pt x="521144" y="56225"/>
                </a:lnTo>
                <a:lnTo>
                  <a:pt x="533400" y="48894"/>
                </a:lnTo>
                <a:lnTo>
                  <a:pt x="518794" y="24383"/>
                </a:lnTo>
                <a:close/>
              </a:path>
              <a:path w="587375" h="359410">
                <a:moveTo>
                  <a:pt x="587375" y="0"/>
                </a:moveTo>
                <a:lnTo>
                  <a:pt x="491871" y="7238"/>
                </a:lnTo>
                <a:lnTo>
                  <a:pt x="506507" y="31732"/>
                </a:lnTo>
                <a:lnTo>
                  <a:pt x="518794" y="24383"/>
                </a:lnTo>
                <a:lnTo>
                  <a:pt x="571809" y="24383"/>
                </a:lnTo>
                <a:lnTo>
                  <a:pt x="5873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745226" y="1882394"/>
            <a:ext cx="2424430" cy="2133600"/>
          </a:xfrm>
          <a:custGeom>
            <a:avLst/>
            <a:gdLst/>
            <a:ahLst/>
            <a:cxnLst/>
            <a:rect l="l" t="t" r="r" b="b"/>
            <a:pathLst>
              <a:path w="2424429" h="2133600">
                <a:moveTo>
                  <a:pt x="1212088" y="0"/>
                </a:moveTo>
                <a:lnTo>
                  <a:pt x="1160851" y="935"/>
                </a:lnTo>
                <a:lnTo>
                  <a:pt x="1110156" y="3718"/>
                </a:lnTo>
                <a:lnTo>
                  <a:pt x="1060046" y="8310"/>
                </a:lnTo>
                <a:lnTo>
                  <a:pt x="1010562" y="14675"/>
                </a:lnTo>
                <a:lnTo>
                  <a:pt x="961746" y="22775"/>
                </a:lnTo>
                <a:lnTo>
                  <a:pt x="913640" y="32574"/>
                </a:lnTo>
                <a:lnTo>
                  <a:pt x="866287" y="44035"/>
                </a:lnTo>
                <a:lnTo>
                  <a:pt x="819728" y="57121"/>
                </a:lnTo>
                <a:lnTo>
                  <a:pt x="774006" y="71795"/>
                </a:lnTo>
                <a:lnTo>
                  <a:pt x="729162" y="88019"/>
                </a:lnTo>
                <a:lnTo>
                  <a:pt x="685239" y="105757"/>
                </a:lnTo>
                <a:lnTo>
                  <a:pt x="642279" y="124972"/>
                </a:lnTo>
                <a:lnTo>
                  <a:pt x="600324" y="145626"/>
                </a:lnTo>
                <a:lnTo>
                  <a:pt x="559415" y="167683"/>
                </a:lnTo>
                <a:lnTo>
                  <a:pt x="519596" y="191106"/>
                </a:lnTo>
                <a:lnTo>
                  <a:pt x="480907" y="215858"/>
                </a:lnTo>
                <a:lnTo>
                  <a:pt x="443392" y="241902"/>
                </a:lnTo>
                <a:lnTo>
                  <a:pt x="407092" y="269200"/>
                </a:lnTo>
                <a:lnTo>
                  <a:pt x="372049" y="297716"/>
                </a:lnTo>
                <a:lnTo>
                  <a:pt x="338305" y="327413"/>
                </a:lnTo>
                <a:lnTo>
                  <a:pt x="305903" y="358254"/>
                </a:lnTo>
                <a:lnTo>
                  <a:pt x="274884" y="390201"/>
                </a:lnTo>
                <a:lnTo>
                  <a:pt x="245291" y="423219"/>
                </a:lnTo>
                <a:lnTo>
                  <a:pt x="217165" y="457269"/>
                </a:lnTo>
                <a:lnTo>
                  <a:pt x="190549" y="492315"/>
                </a:lnTo>
                <a:lnTo>
                  <a:pt x="165485" y="528319"/>
                </a:lnTo>
                <a:lnTo>
                  <a:pt x="142015" y="565246"/>
                </a:lnTo>
                <a:lnTo>
                  <a:pt x="120180" y="603057"/>
                </a:lnTo>
                <a:lnTo>
                  <a:pt x="100024" y="641717"/>
                </a:lnTo>
                <a:lnTo>
                  <a:pt x="81587" y="681187"/>
                </a:lnTo>
                <a:lnTo>
                  <a:pt x="64912" y="721430"/>
                </a:lnTo>
                <a:lnTo>
                  <a:pt x="50042" y="762411"/>
                </a:lnTo>
                <a:lnTo>
                  <a:pt x="37018" y="804092"/>
                </a:lnTo>
                <a:lnTo>
                  <a:pt x="25882" y="846435"/>
                </a:lnTo>
                <a:lnTo>
                  <a:pt x="16676" y="889404"/>
                </a:lnTo>
                <a:lnTo>
                  <a:pt x="9443" y="932962"/>
                </a:lnTo>
                <a:lnTo>
                  <a:pt x="4225" y="977072"/>
                </a:lnTo>
                <a:lnTo>
                  <a:pt x="1063" y="1021697"/>
                </a:lnTo>
                <a:lnTo>
                  <a:pt x="0" y="1066800"/>
                </a:lnTo>
                <a:lnTo>
                  <a:pt x="1063" y="1111893"/>
                </a:lnTo>
                <a:lnTo>
                  <a:pt x="4225" y="1156509"/>
                </a:lnTo>
                <a:lnTo>
                  <a:pt x="9443" y="1200612"/>
                </a:lnTo>
                <a:lnTo>
                  <a:pt x="16676" y="1244163"/>
                </a:lnTo>
                <a:lnTo>
                  <a:pt x="25882" y="1287127"/>
                </a:lnTo>
                <a:lnTo>
                  <a:pt x="37018" y="1329465"/>
                </a:lnTo>
                <a:lnTo>
                  <a:pt x="50042" y="1371142"/>
                </a:lnTo>
                <a:lnTo>
                  <a:pt x="64912" y="1412119"/>
                </a:lnTo>
                <a:lnTo>
                  <a:pt x="81587" y="1452360"/>
                </a:lnTo>
                <a:lnTo>
                  <a:pt x="100024" y="1491828"/>
                </a:lnTo>
                <a:lnTo>
                  <a:pt x="120180" y="1530486"/>
                </a:lnTo>
                <a:lnTo>
                  <a:pt x="142015" y="1568297"/>
                </a:lnTo>
                <a:lnTo>
                  <a:pt x="165485" y="1605223"/>
                </a:lnTo>
                <a:lnTo>
                  <a:pt x="190549" y="1641228"/>
                </a:lnTo>
                <a:lnTo>
                  <a:pt x="217165" y="1676275"/>
                </a:lnTo>
                <a:lnTo>
                  <a:pt x="245291" y="1710326"/>
                </a:lnTo>
                <a:lnTo>
                  <a:pt x="274884" y="1743345"/>
                </a:lnTo>
                <a:lnTo>
                  <a:pt x="305903" y="1775294"/>
                </a:lnTo>
                <a:lnTo>
                  <a:pt x="338305" y="1806137"/>
                </a:lnTo>
                <a:lnTo>
                  <a:pt x="372049" y="1835836"/>
                </a:lnTo>
                <a:lnTo>
                  <a:pt x="407092" y="1864355"/>
                </a:lnTo>
                <a:lnTo>
                  <a:pt x="443392" y="1891656"/>
                </a:lnTo>
                <a:lnTo>
                  <a:pt x="480907" y="1917703"/>
                </a:lnTo>
                <a:lnTo>
                  <a:pt x="519596" y="1942458"/>
                </a:lnTo>
                <a:lnTo>
                  <a:pt x="559415" y="1965884"/>
                </a:lnTo>
                <a:lnTo>
                  <a:pt x="600324" y="1987945"/>
                </a:lnTo>
                <a:lnTo>
                  <a:pt x="642279" y="2008602"/>
                </a:lnTo>
                <a:lnTo>
                  <a:pt x="685239" y="2027820"/>
                </a:lnTo>
                <a:lnTo>
                  <a:pt x="729162" y="2045561"/>
                </a:lnTo>
                <a:lnTo>
                  <a:pt x="774006" y="2061789"/>
                </a:lnTo>
                <a:lnTo>
                  <a:pt x="819728" y="2076465"/>
                </a:lnTo>
                <a:lnTo>
                  <a:pt x="866287" y="2089554"/>
                </a:lnTo>
                <a:lnTo>
                  <a:pt x="913640" y="2101017"/>
                </a:lnTo>
                <a:lnTo>
                  <a:pt x="961746" y="2110818"/>
                </a:lnTo>
                <a:lnTo>
                  <a:pt x="1010562" y="2118921"/>
                </a:lnTo>
                <a:lnTo>
                  <a:pt x="1060046" y="2125287"/>
                </a:lnTo>
                <a:lnTo>
                  <a:pt x="1110156" y="2129880"/>
                </a:lnTo>
                <a:lnTo>
                  <a:pt x="1160851" y="2132664"/>
                </a:lnTo>
                <a:lnTo>
                  <a:pt x="1212088" y="2133599"/>
                </a:lnTo>
                <a:lnTo>
                  <a:pt x="1263324" y="2132664"/>
                </a:lnTo>
                <a:lnTo>
                  <a:pt x="1314019" y="2129880"/>
                </a:lnTo>
                <a:lnTo>
                  <a:pt x="1364129" y="2125287"/>
                </a:lnTo>
                <a:lnTo>
                  <a:pt x="1413613" y="2118921"/>
                </a:lnTo>
                <a:lnTo>
                  <a:pt x="1462429" y="2110818"/>
                </a:lnTo>
                <a:lnTo>
                  <a:pt x="1510535" y="2101017"/>
                </a:lnTo>
                <a:lnTo>
                  <a:pt x="1557888" y="2089554"/>
                </a:lnTo>
                <a:lnTo>
                  <a:pt x="1604447" y="2076465"/>
                </a:lnTo>
                <a:lnTo>
                  <a:pt x="1650169" y="2061789"/>
                </a:lnTo>
                <a:lnTo>
                  <a:pt x="1695013" y="2045561"/>
                </a:lnTo>
                <a:lnTo>
                  <a:pt x="1738936" y="2027820"/>
                </a:lnTo>
                <a:lnTo>
                  <a:pt x="1781896" y="2008602"/>
                </a:lnTo>
                <a:lnTo>
                  <a:pt x="1823851" y="1987945"/>
                </a:lnTo>
                <a:lnTo>
                  <a:pt x="1864760" y="1965884"/>
                </a:lnTo>
                <a:lnTo>
                  <a:pt x="1904579" y="1942458"/>
                </a:lnTo>
                <a:lnTo>
                  <a:pt x="1943268" y="1917703"/>
                </a:lnTo>
                <a:lnTo>
                  <a:pt x="1980783" y="1891656"/>
                </a:lnTo>
                <a:lnTo>
                  <a:pt x="2017083" y="1864355"/>
                </a:lnTo>
                <a:lnTo>
                  <a:pt x="2052126" y="1835836"/>
                </a:lnTo>
                <a:lnTo>
                  <a:pt x="2085870" y="1806137"/>
                </a:lnTo>
                <a:lnTo>
                  <a:pt x="2118272" y="1775294"/>
                </a:lnTo>
                <a:lnTo>
                  <a:pt x="2149291" y="1743345"/>
                </a:lnTo>
                <a:lnTo>
                  <a:pt x="2178884" y="1710326"/>
                </a:lnTo>
                <a:lnTo>
                  <a:pt x="2207010" y="1676275"/>
                </a:lnTo>
                <a:lnTo>
                  <a:pt x="2233626" y="1641228"/>
                </a:lnTo>
                <a:lnTo>
                  <a:pt x="2258690" y="1605223"/>
                </a:lnTo>
                <a:lnTo>
                  <a:pt x="2282160" y="1568297"/>
                </a:lnTo>
                <a:lnTo>
                  <a:pt x="2303995" y="1530486"/>
                </a:lnTo>
                <a:lnTo>
                  <a:pt x="2324151" y="1491828"/>
                </a:lnTo>
                <a:lnTo>
                  <a:pt x="2342588" y="1452360"/>
                </a:lnTo>
                <a:lnTo>
                  <a:pt x="2359263" y="1412119"/>
                </a:lnTo>
                <a:lnTo>
                  <a:pt x="2374133" y="1371142"/>
                </a:lnTo>
                <a:lnTo>
                  <a:pt x="2387157" y="1329465"/>
                </a:lnTo>
                <a:lnTo>
                  <a:pt x="2398293" y="1287127"/>
                </a:lnTo>
                <a:lnTo>
                  <a:pt x="2407499" y="1244163"/>
                </a:lnTo>
                <a:lnTo>
                  <a:pt x="2414732" y="1200612"/>
                </a:lnTo>
                <a:lnTo>
                  <a:pt x="2419950" y="1156509"/>
                </a:lnTo>
                <a:lnTo>
                  <a:pt x="2423112" y="1111893"/>
                </a:lnTo>
                <a:lnTo>
                  <a:pt x="2424176" y="1066800"/>
                </a:lnTo>
                <a:lnTo>
                  <a:pt x="2423112" y="1021697"/>
                </a:lnTo>
                <a:lnTo>
                  <a:pt x="2419950" y="977072"/>
                </a:lnTo>
                <a:lnTo>
                  <a:pt x="2414732" y="932962"/>
                </a:lnTo>
                <a:lnTo>
                  <a:pt x="2407499" y="889404"/>
                </a:lnTo>
                <a:lnTo>
                  <a:pt x="2398293" y="846435"/>
                </a:lnTo>
                <a:lnTo>
                  <a:pt x="2387157" y="804092"/>
                </a:lnTo>
                <a:lnTo>
                  <a:pt x="2374133" y="762411"/>
                </a:lnTo>
                <a:lnTo>
                  <a:pt x="2359263" y="721430"/>
                </a:lnTo>
                <a:lnTo>
                  <a:pt x="2342588" y="681187"/>
                </a:lnTo>
                <a:lnTo>
                  <a:pt x="2324151" y="641717"/>
                </a:lnTo>
                <a:lnTo>
                  <a:pt x="2303995" y="603057"/>
                </a:lnTo>
                <a:lnTo>
                  <a:pt x="2282160" y="565246"/>
                </a:lnTo>
                <a:lnTo>
                  <a:pt x="2258690" y="528319"/>
                </a:lnTo>
                <a:lnTo>
                  <a:pt x="2233626" y="492315"/>
                </a:lnTo>
                <a:lnTo>
                  <a:pt x="2207010" y="457269"/>
                </a:lnTo>
                <a:lnTo>
                  <a:pt x="2178884" y="423219"/>
                </a:lnTo>
                <a:lnTo>
                  <a:pt x="2149291" y="390201"/>
                </a:lnTo>
                <a:lnTo>
                  <a:pt x="2118272" y="358254"/>
                </a:lnTo>
                <a:lnTo>
                  <a:pt x="2085870" y="327413"/>
                </a:lnTo>
                <a:lnTo>
                  <a:pt x="2052126" y="297716"/>
                </a:lnTo>
                <a:lnTo>
                  <a:pt x="2017083" y="269200"/>
                </a:lnTo>
                <a:lnTo>
                  <a:pt x="1980783" y="241902"/>
                </a:lnTo>
                <a:lnTo>
                  <a:pt x="1943268" y="215858"/>
                </a:lnTo>
                <a:lnTo>
                  <a:pt x="1904579" y="191106"/>
                </a:lnTo>
                <a:lnTo>
                  <a:pt x="1864760" y="167683"/>
                </a:lnTo>
                <a:lnTo>
                  <a:pt x="1823851" y="145626"/>
                </a:lnTo>
                <a:lnTo>
                  <a:pt x="1781896" y="124972"/>
                </a:lnTo>
                <a:lnTo>
                  <a:pt x="1738936" y="105757"/>
                </a:lnTo>
                <a:lnTo>
                  <a:pt x="1695013" y="88019"/>
                </a:lnTo>
                <a:lnTo>
                  <a:pt x="1650169" y="71795"/>
                </a:lnTo>
                <a:lnTo>
                  <a:pt x="1604447" y="57121"/>
                </a:lnTo>
                <a:lnTo>
                  <a:pt x="1557888" y="44035"/>
                </a:lnTo>
                <a:lnTo>
                  <a:pt x="1510535" y="32574"/>
                </a:lnTo>
                <a:lnTo>
                  <a:pt x="1462429" y="22775"/>
                </a:lnTo>
                <a:lnTo>
                  <a:pt x="1413613" y="14675"/>
                </a:lnTo>
                <a:lnTo>
                  <a:pt x="1364129" y="8310"/>
                </a:lnTo>
                <a:lnTo>
                  <a:pt x="1314019" y="3718"/>
                </a:lnTo>
                <a:lnTo>
                  <a:pt x="1263324" y="935"/>
                </a:lnTo>
                <a:lnTo>
                  <a:pt x="1212088" y="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745226" y="1882394"/>
            <a:ext cx="2424430" cy="2133600"/>
          </a:xfrm>
          <a:custGeom>
            <a:avLst/>
            <a:gdLst/>
            <a:ahLst/>
            <a:cxnLst/>
            <a:rect l="l" t="t" r="r" b="b"/>
            <a:pathLst>
              <a:path w="2424429" h="2133600">
                <a:moveTo>
                  <a:pt x="0" y="1066800"/>
                </a:moveTo>
                <a:lnTo>
                  <a:pt x="1063" y="1021697"/>
                </a:lnTo>
                <a:lnTo>
                  <a:pt x="4225" y="977072"/>
                </a:lnTo>
                <a:lnTo>
                  <a:pt x="9443" y="932962"/>
                </a:lnTo>
                <a:lnTo>
                  <a:pt x="16676" y="889404"/>
                </a:lnTo>
                <a:lnTo>
                  <a:pt x="25882" y="846435"/>
                </a:lnTo>
                <a:lnTo>
                  <a:pt x="37018" y="804092"/>
                </a:lnTo>
                <a:lnTo>
                  <a:pt x="50042" y="762411"/>
                </a:lnTo>
                <a:lnTo>
                  <a:pt x="64912" y="721430"/>
                </a:lnTo>
                <a:lnTo>
                  <a:pt x="81587" y="681187"/>
                </a:lnTo>
                <a:lnTo>
                  <a:pt x="100024" y="641717"/>
                </a:lnTo>
                <a:lnTo>
                  <a:pt x="120180" y="603057"/>
                </a:lnTo>
                <a:lnTo>
                  <a:pt x="142015" y="565246"/>
                </a:lnTo>
                <a:lnTo>
                  <a:pt x="165485" y="528319"/>
                </a:lnTo>
                <a:lnTo>
                  <a:pt x="190549" y="492315"/>
                </a:lnTo>
                <a:lnTo>
                  <a:pt x="217165" y="457269"/>
                </a:lnTo>
                <a:lnTo>
                  <a:pt x="245291" y="423219"/>
                </a:lnTo>
                <a:lnTo>
                  <a:pt x="274884" y="390201"/>
                </a:lnTo>
                <a:lnTo>
                  <a:pt x="305903" y="358254"/>
                </a:lnTo>
                <a:lnTo>
                  <a:pt x="338305" y="327413"/>
                </a:lnTo>
                <a:lnTo>
                  <a:pt x="372049" y="297716"/>
                </a:lnTo>
                <a:lnTo>
                  <a:pt x="407092" y="269200"/>
                </a:lnTo>
                <a:lnTo>
                  <a:pt x="443392" y="241902"/>
                </a:lnTo>
                <a:lnTo>
                  <a:pt x="480907" y="215858"/>
                </a:lnTo>
                <a:lnTo>
                  <a:pt x="519596" y="191106"/>
                </a:lnTo>
                <a:lnTo>
                  <a:pt x="559415" y="167683"/>
                </a:lnTo>
                <a:lnTo>
                  <a:pt x="600324" y="145626"/>
                </a:lnTo>
                <a:lnTo>
                  <a:pt x="642279" y="124972"/>
                </a:lnTo>
                <a:lnTo>
                  <a:pt x="685239" y="105757"/>
                </a:lnTo>
                <a:lnTo>
                  <a:pt x="729162" y="88019"/>
                </a:lnTo>
                <a:lnTo>
                  <a:pt x="774006" y="71795"/>
                </a:lnTo>
                <a:lnTo>
                  <a:pt x="819728" y="57121"/>
                </a:lnTo>
                <a:lnTo>
                  <a:pt x="866287" y="44035"/>
                </a:lnTo>
                <a:lnTo>
                  <a:pt x="913640" y="32574"/>
                </a:lnTo>
                <a:lnTo>
                  <a:pt x="961746" y="22775"/>
                </a:lnTo>
                <a:lnTo>
                  <a:pt x="1010562" y="14675"/>
                </a:lnTo>
                <a:lnTo>
                  <a:pt x="1060046" y="8310"/>
                </a:lnTo>
                <a:lnTo>
                  <a:pt x="1110156" y="3718"/>
                </a:lnTo>
                <a:lnTo>
                  <a:pt x="1160851" y="935"/>
                </a:lnTo>
                <a:lnTo>
                  <a:pt x="1212088" y="0"/>
                </a:lnTo>
                <a:lnTo>
                  <a:pt x="1263324" y="935"/>
                </a:lnTo>
                <a:lnTo>
                  <a:pt x="1314019" y="3718"/>
                </a:lnTo>
                <a:lnTo>
                  <a:pt x="1364129" y="8310"/>
                </a:lnTo>
                <a:lnTo>
                  <a:pt x="1413613" y="14675"/>
                </a:lnTo>
                <a:lnTo>
                  <a:pt x="1462429" y="22775"/>
                </a:lnTo>
                <a:lnTo>
                  <a:pt x="1510535" y="32574"/>
                </a:lnTo>
                <a:lnTo>
                  <a:pt x="1557888" y="44035"/>
                </a:lnTo>
                <a:lnTo>
                  <a:pt x="1604447" y="57121"/>
                </a:lnTo>
                <a:lnTo>
                  <a:pt x="1650169" y="71795"/>
                </a:lnTo>
                <a:lnTo>
                  <a:pt x="1695013" y="88019"/>
                </a:lnTo>
                <a:lnTo>
                  <a:pt x="1738936" y="105757"/>
                </a:lnTo>
                <a:lnTo>
                  <a:pt x="1781896" y="124972"/>
                </a:lnTo>
                <a:lnTo>
                  <a:pt x="1823851" y="145626"/>
                </a:lnTo>
                <a:lnTo>
                  <a:pt x="1864760" y="167683"/>
                </a:lnTo>
                <a:lnTo>
                  <a:pt x="1904579" y="191106"/>
                </a:lnTo>
                <a:lnTo>
                  <a:pt x="1943268" y="215858"/>
                </a:lnTo>
                <a:lnTo>
                  <a:pt x="1980783" y="241902"/>
                </a:lnTo>
                <a:lnTo>
                  <a:pt x="2017083" y="269200"/>
                </a:lnTo>
                <a:lnTo>
                  <a:pt x="2052126" y="297716"/>
                </a:lnTo>
                <a:lnTo>
                  <a:pt x="2085870" y="327413"/>
                </a:lnTo>
                <a:lnTo>
                  <a:pt x="2118272" y="358254"/>
                </a:lnTo>
                <a:lnTo>
                  <a:pt x="2149291" y="390201"/>
                </a:lnTo>
                <a:lnTo>
                  <a:pt x="2178884" y="423219"/>
                </a:lnTo>
                <a:lnTo>
                  <a:pt x="2207010" y="457269"/>
                </a:lnTo>
                <a:lnTo>
                  <a:pt x="2233626" y="492315"/>
                </a:lnTo>
                <a:lnTo>
                  <a:pt x="2258690" y="528319"/>
                </a:lnTo>
                <a:lnTo>
                  <a:pt x="2282160" y="565246"/>
                </a:lnTo>
                <a:lnTo>
                  <a:pt x="2303995" y="603057"/>
                </a:lnTo>
                <a:lnTo>
                  <a:pt x="2324151" y="641717"/>
                </a:lnTo>
                <a:lnTo>
                  <a:pt x="2342588" y="681187"/>
                </a:lnTo>
                <a:lnTo>
                  <a:pt x="2359263" y="721430"/>
                </a:lnTo>
                <a:lnTo>
                  <a:pt x="2374133" y="762411"/>
                </a:lnTo>
                <a:lnTo>
                  <a:pt x="2387157" y="804092"/>
                </a:lnTo>
                <a:lnTo>
                  <a:pt x="2398293" y="846435"/>
                </a:lnTo>
                <a:lnTo>
                  <a:pt x="2407499" y="889404"/>
                </a:lnTo>
                <a:lnTo>
                  <a:pt x="2414732" y="932962"/>
                </a:lnTo>
                <a:lnTo>
                  <a:pt x="2419950" y="977072"/>
                </a:lnTo>
                <a:lnTo>
                  <a:pt x="2423112" y="1021697"/>
                </a:lnTo>
                <a:lnTo>
                  <a:pt x="2424176" y="1066800"/>
                </a:lnTo>
                <a:lnTo>
                  <a:pt x="2423112" y="1111893"/>
                </a:lnTo>
                <a:lnTo>
                  <a:pt x="2419950" y="1156509"/>
                </a:lnTo>
                <a:lnTo>
                  <a:pt x="2414732" y="1200612"/>
                </a:lnTo>
                <a:lnTo>
                  <a:pt x="2407499" y="1244163"/>
                </a:lnTo>
                <a:lnTo>
                  <a:pt x="2398293" y="1287127"/>
                </a:lnTo>
                <a:lnTo>
                  <a:pt x="2387157" y="1329465"/>
                </a:lnTo>
                <a:lnTo>
                  <a:pt x="2374133" y="1371142"/>
                </a:lnTo>
                <a:lnTo>
                  <a:pt x="2359263" y="1412119"/>
                </a:lnTo>
                <a:lnTo>
                  <a:pt x="2342588" y="1452360"/>
                </a:lnTo>
                <a:lnTo>
                  <a:pt x="2324151" y="1491828"/>
                </a:lnTo>
                <a:lnTo>
                  <a:pt x="2303995" y="1530486"/>
                </a:lnTo>
                <a:lnTo>
                  <a:pt x="2282160" y="1568297"/>
                </a:lnTo>
                <a:lnTo>
                  <a:pt x="2258690" y="1605223"/>
                </a:lnTo>
                <a:lnTo>
                  <a:pt x="2233626" y="1641228"/>
                </a:lnTo>
                <a:lnTo>
                  <a:pt x="2207010" y="1676275"/>
                </a:lnTo>
                <a:lnTo>
                  <a:pt x="2178884" y="1710326"/>
                </a:lnTo>
                <a:lnTo>
                  <a:pt x="2149291" y="1743345"/>
                </a:lnTo>
                <a:lnTo>
                  <a:pt x="2118272" y="1775294"/>
                </a:lnTo>
                <a:lnTo>
                  <a:pt x="2085870" y="1806137"/>
                </a:lnTo>
                <a:lnTo>
                  <a:pt x="2052126" y="1835836"/>
                </a:lnTo>
                <a:lnTo>
                  <a:pt x="2017083" y="1864355"/>
                </a:lnTo>
                <a:lnTo>
                  <a:pt x="1980783" y="1891656"/>
                </a:lnTo>
                <a:lnTo>
                  <a:pt x="1943268" y="1917703"/>
                </a:lnTo>
                <a:lnTo>
                  <a:pt x="1904579" y="1942458"/>
                </a:lnTo>
                <a:lnTo>
                  <a:pt x="1864760" y="1965884"/>
                </a:lnTo>
                <a:lnTo>
                  <a:pt x="1823851" y="1987945"/>
                </a:lnTo>
                <a:lnTo>
                  <a:pt x="1781896" y="2008602"/>
                </a:lnTo>
                <a:lnTo>
                  <a:pt x="1738936" y="2027820"/>
                </a:lnTo>
                <a:lnTo>
                  <a:pt x="1695013" y="2045561"/>
                </a:lnTo>
                <a:lnTo>
                  <a:pt x="1650169" y="2061789"/>
                </a:lnTo>
                <a:lnTo>
                  <a:pt x="1604447" y="2076465"/>
                </a:lnTo>
                <a:lnTo>
                  <a:pt x="1557888" y="2089554"/>
                </a:lnTo>
                <a:lnTo>
                  <a:pt x="1510535" y="2101017"/>
                </a:lnTo>
                <a:lnTo>
                  <a:pt x="1462429" y="2110818"/>
                </a:lnTo>
                <a:lnTo>
                  <a:pt x="1413613" y="2118921"/>
                </a:lnTo>
                <a:lnTo>
                  <a:pt x="1364129" y="2125287"/>
                </a:lnTo>
                <a:lnTo>
                  <a:pt x="1314019" y="2129880"/>
                </a:lnTo>
                <a:lnTo>
                  <a:pt x="1263324" y="2132664"/>
                </a:lnTo>
                <a:lnTo>
                  <a:pt x="1212088" y="2133599"/>
                </a:lnTo>
                <a:lnTo>
                  <a:pt x="1160851" y="2132664"/>
                </a:lnTo>
                <a:lnTo>
                  <a:pt x="1110156" y="2129880"/>
                </a:lnTo>
                <a:lnTo>
                  <a:pt x="1060046" y="2125287"/>
                </a:lnTo>
                <a:lnTo>
                  <a:pt x="1010562" y="2118921"/>
                </a:lnTo>
                <a:lnTo>
                  <a:pt x="961746" y="2110818"/>
                </a:lnTo>
                <a:lnTo>
                  <a:pt x="913640" y="2101017"/>
                </a:lnTo>
                <a:lnTo>
                  <a:pt x="866287" y="2089554"/>
                </a:lnTo>
                <a:lnTo>
                  <a:pt x="819728" y="2076465"/>
                </a:lnTo>
                <a:lnTo>
                  <a:pt x="774006" y="2061789"/>
                </a:lnTo>
                <a:lnTo>
                  <a:pt x="729162" y="2045561"/>
                </a:lnTo>
                <a:lnTo>
                  <a:pt x="685239" y="2027820"/>
                </a:lnTo>
                <a:lnTo>
                  <a:pt x="642279" y="2008602"/>
                </a:lnTo>
                <a:lnTo>
                  <a:pt x="600324" y="1987945"/>
                </a:lnTo>
                <a:lnTo>
                  <a:pt x="559415" y="1965884"/>
                </a:lnTo>
                <a:lnTo>
                  <a:pt x="519596" y="1942458"/>
                </a:lnTo>
                <a:lnTo>
                  <a:pt x="480907" y="1917703"/>
                </a:lnTo>
                <a:lnTo>
                  <a:pt x="443392" y="1891656"/>
                </a:lnTo>
                <a:lnTo>
                  <a:pt x="407092" y="1864355"/>
                </a:lnTo>
                <a:lnTo>
                  <a:pt x="372049" y="1835836"/>
                </a:lnTo>
                <a:lnTo>
                  <a:pt x="338305" y="1806137"/>
                </a:lnTo>
                <a:lnTo>
                  <a:pt x="305903" y="1775294"/>
                </a:lnTo>
                <a:lnTo>
                  <a:pt x="274884" y="1743345"/>
                </a:lnTo>
                <a:lnTo>
                  <a:pt x="245291" y="1710326"/>
                </a:lnTo>
                <a:lnTo>
                  <a:pt x="217165" y="1676275"/>
                </a:lnTo>
                <a:lnTo>
                  <a:pt x="190549" y="1641228"/>
                </a:lnTo>
                <a:lnTo>
                  <a:pt x="165485" y="1605223"/>
                </a:lnTo>
                <a:lnTo>
                  <a:pt x="142015" y="1568297"/>
                </a:lnTo>
                <a:lnTo>
                  <a:pt x="120180" y="1530486"/>
                </a:lnTo>
                <a:lnTo>
                  <a:pt x="100024" y="1491828"/>
                </a:lnTo>
                <a:lnTo>
                  <a:pt x="81587" y="1452360"/>
                </a:lnTo>
                <a:lnTo>
                  <a:pt x="64912" y="1412119"/>
                </a:lnTo>
                <a:lnTo>
                  <a:pt x="50042" y="1371142"/>
                </a:lnTo>
                <a:lnTo>
                  <a:pt x="37018" y="1329465"/>
                </a:lnTo>
                <a:lnTo>
                  <a:pt x="25882" y="1287127"/>
                </a:lnTo>
                <a:lnTo>
                  <a:pt x="16676" y="1244163"/>
                </a:lnTo>
                <a:lnTo>
                  <a:pt x="9443" y="1200612"/>
                </a:lnTo>
                <a:lnTo>
                  <a:pt x="4225" y="1156509"/>
                </a:lnTo>
                <a:lnTo>
                  <a:pt x="1063" y="1111893"/>
                </a:lnTo>
                <a:lnTo>
                  <a:pt x="0" y="10668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165088" y="2308605"/>
            <a:ext cx="1584960" cy="1280160"/>
          </a:xfrm>
          <a:custGeom>
            <a:avLst/>
            <a:gdLst/>
            <a:ahLst/>
            <a:cxnLst/>
            <a:rect l="l" t="t" r="r" b="b"/>
            <a:pathLst>
              <a:path w="1584959" h="1280160">
                <a:moveTo>
                  <a:pt x="792226" y="0"/>
                </a:moveTo>
                <a:lnTo>
                  <a:pt x="740139" y="1361"/>
                </a:lnTo>
                <a:lnTo>
                  <a:pt x="688951" y="5390"/>
                </a:lnTo>
                <a:lnTo>
                  <a:pt x="638767" y="12002"/>
                </a:lnTo>
                <a:lnTo>
                  <a:pt x="589691" y="21113"/>
                </a:lnTo>
                <a:lnTo>
                  <a:pt x="541828" y="32637"/>
                </a:lnTo>
                <a:lnTo>
                  <a:pt x="495282" y="46492"/>
                </a:lnTo>
                <a:lnTo>
                  <a:pt x="450157" y="62591"/>
                </a:lnTo>
                <a:lnTo>
                  <a:pt x="406558" y="80851"/>
                </a:lnTo>
                <a:lnTo>
                  <a:pt x="364590" y="101188"/>
                </a:lnTo>
                <a:lnTo>
                  <a:pt x="324355" y="123517"/>
                </a:lnTo>
                <a:lnTo>
                  <a:pt x="285960" y="147753"/>
                </a:lnTo>
                <a:lnTo>
                  <a:pt x="249509" y="173812"/>
                </a:lnTo>
                <a:lnTo>
                  <a:pt x="215105" y="201610"/>
                </a:lnTo>
                <a:lnTo>
                  <a:pt x="182854" y="231063"/>
                </a:lnTo>
                <a:lnTo>
                  <a:pt x="152859" y="262085"/>
                </a:lnTo>
                <a:lnTo>
                  <a:pt x="125225" y="294593"/>
                </a:lnTo>
                <a:lnTo>
                  <a:pt x="100057" y="328501"/>
                </a:lnTo>
                <a:lnTo>
                  <a:pt x="77459" y="363727"/>
                </a:lnTo>
                <a:lnTo>
                  <a:pt x="57535" y="400184"/>
                </a:lnTo>
                <a:lnTo>
                  <a:pt x="40390" y="437790"/>
                </a:lnTo>
                <a:lnTo>
                  <a:pt x="26128" y="476459"/>
                </a:lnTo>
                <a:lnTo>
                  <a:pt x="14853" y="516106"/>
                </a:lnTo>
                <a:lnTo>
                  <a:pt x="6671" y="556649"/>
                </a:lnTo>
                <a:lnTo>
                  <a:pt x="1685" y="598001"/>
                </a:lnTo>
                <a:lnTo>
                  <a:pt x="0" y="640080"/>
                </a:lnTo>
                <a:lnTo>
                  <a:pt x="1685" y="682157"/>
                </a:lnTo>
                <a:lnTo>
                  <a:pt x="6671" y="723508"/>
                </a:lnTo>
                <a:lnTo>
                  <a:pt x="14853" y="764047"/>
                </a:lnTo>
                <a:lnTo>
                  <a:pt x="26128" y="803692"/>
                </a:lnTo>
                <a:lnTo>
                  <a:pt x="40390" y="842356"/>
                </a:lnTo>
                <a:lnTo>
                  <a:pt x="57535" y="879956"/>
                </a:lnTo>
                <a:lnTo>
                  <a:pt x="77459" y="916408"/>
                </a:lnTo>
                <a:lnTo>
                  <a:pt x="100057" y="951627"/>
                </a:lnTo>
                <a:lnTo>
                  <a:pt x="125225" y="985529"/>
                </a:lnTo>
                <a:lnTo>
                  <a:pt x="152859" y="1018029"/>
                </a:lnTo>
                <a:lnTo>
                  <a:pt x="182854" y="1049044"/>
                </a:lnTo>
                <a:lnTo>
                  <a:pt x="215105" y="1078489"/>
                </a:lnTo>
                <a:lnTo>
                  <a:pt x="249509" y="1106280"/>
                </a:lnTo>
                <a:lnTo>
                  <a:pt x="285960" y="1132331"/>
                </a:lnTo>
                <a:lnTo>
                  <a:pt x="324355" y="1156560"/>
                </a:lnTo>
                <a:lnTo>
                  <a:pt x="364590" y="1178881"/>
                </a:lnTo>
                <a:lnTo>
                  <a:pt x="406558" y="1199211"/>
                </a:lnTo>
                <a:lnTo>
                  <a:pt x="450157" y="1217465"/>
                </a:lnTo>
                <a:lnTo>
                  <a:pt x="495282" y="1233559"/>
                </a:lnTo>
                <a:lnTo>
                  <a:pt x="541828" y="1247408"/>
                </a:lnTo>
                <a:lnTo>
                  <a:pt x="589691" y="1258928"/>
                </a:lnTo>
                <a:lnTo>
                  <a:pt x="638767" y="1268035"/>
                </a:lnTo>
                <a:lnTo>
                  <a:pt x="688951" y="1274644"/>
                </a:lnTo>
                <a:lnTo>
                  <a:pt x="740139" y="1278671"/>
                </a:lnTo>
                <a:lnTo>
                  <a:pt x="792226" y="1280033"/>
                </a:lnTo>
                <a:lnTo>
                  <a:pt x="844327" y="1278671"/>
                </a:lnTo>
                <a:lnTo>
                  <a:pt x="895528" y="1274644"/>
                </a:lnTo>
                <a:lnTo>
                  <a:pt x="945724" y="1268035"/>
                </a:lnTo>
                <a:lnTo>
                  <a:pt x="994811" y="1258928"/>
                </a:lnTo>
                <a:lnTo>
                  <a:pt x="1042685" y="1247408"/>
                </a:lnTo>
                <a:lnTo>
                  <a:pt x="1089240" y="1233559"/>
                </a:lnTo>
                <a:lnTo>
                  <a:pt x="1134373" y="1217465"/>
                </a:lnTo>
                <a:lnTo>
                  <a:pt x="1177980" y="1199211"/>
                </a:lnTo>
                <a:lnTo>
                  <a:pt x="1219955" y="1178881"/>
                </a:lnTo>
                <a:lnTo>
                  <a:pt x="1260195" y="1156560"/>
                </a:lnTo>
                <a:lnTo>
                  <a:pt x="1298595" y="1132331"/>
                </a:lnTo>
                <a:lnTo>
                  <a:pt x="1335051" y="1106280"/>
                </a:lnTo>
                <a:lnTo>
                  <a:pt x="1369459" y="1078489"/>
                </a:lnTo>
                <a:lnTo>
                  <a:pt x="1401714" y="1049044"/>
                </a:lnTo>
                <a:lnTo>
                  <a:pt x="1431711" y="1018029"/>
                </a:lnTo>
                <a:lnTo>
                  <a:pt x="1459347" y="985529"/>
                </a:lnTo>
                <a:lnTo>
                  <a:pt x="1484517" y="951627"/>
                </a:lnTo>
                <a:lnTo>
                  <a:pt x="1507117" y="916408"/>
                </a:lnTo>
                <a:lnTo>
                  <a:pt x="1527042" y="879956"/>
                </a:lnTo>
                <a:lnTo>
                  <a:pt x="1544187" y="842356"/>
                </a:lnTo>
                <a:lnTo>
                  <a:pt x="1558450" y="803692"/>
                </a:lnTo>
                <a:lnTo>
                  <a:pt x="1569725" y="764047"/>
                </a:lnTo>
                <a:lnTo>
                  <a:pt x="1577907" y="723508"/>
                </a:lnTo>
                <a:lnTo>
                  <a:pt x="1582893" y="682157"/>
                </a:lnTo>
                <a:lnTo>
                  <a:pt x="1584579" y="640080"/>
                </a:lnTo>
                <a:lnTo>
                  <a:pt x="1582893" y="598001"/>
                </a:lnTo>
                <a:lnTo>
                  <a:pt x="1577907" y="556649"/>
                </a:lnTo>
                <a:lnTo>
                  <a:pt x="1569725" y="516106"/>
                </a:lnTo>
                <a:lnTo>
                  <a:pt x="1558450" y="476459"/>
                </a:lnTo>
                <a:lnTo>
                  <a:pt x="1544187" y="437790"/>
                </a:lnTo>
                <a:lnTo>
                  <a:pt x="1527042" y="400184"/>
                </a:lnTo>
                <a:lnTo>
                  <a:pt x="1507117" y="363727"/>
                </a:lnTo>
                <a:lnTo>
                  <a:pt x="1484517" y="328501"/>
                </a:lnTo>
                <a:lnTo>
                  <a:pt x="1459347" y="294593"/>
                </a:lnTo>
                <a:lnTo>
                  <a:pt x="1431711" y="262085"/>
                </a:lnTo>
                <a:lnTo>
                  <a:pt x="1401714" y="231063"/>
                </a:lnTo>
                <a:lnTo>
                  <a:pt x="1369459" y="201610"/>
                </a:lnTo>
                <a:lnTo>
                  <a:pt x="1335051" y="173812"/>
                </a:lnTo>
                <a:lnTo>
                  <a:pt x="1298595" y="147753"/>
                </a:lnTo>
                <a:lnTo>
                  <a:pt x="1260195" y="123517"/>
                </a:lnTo>
                <a:lnTo>
                  <a:pt x="1219955" y="101188"/>
                </a:lnTo>
                <a:lnTo>
                  <a:pt x="1177980" y="80851"/>
                </a:lnTo>
                <a:lnTo>
                  <a:pt x="1134373" y="62591"/>
                </a:lnTo>
                <a:lnTo>
                  <a:pt x="1089240" y="46492"/>
                </a:lnTo>
                <a:lnTo>
                  <a:pt x="1042685" y="32637"/>
                </a:lnTo>
                <a:lnTo>
                  <a:pt x="994811" y="21113"/>
                </a:lnTo>
                <a:lnTo>
                  <a:pt x="945724" y="12002"/>
                </a:lnTo>
                <a:lnTo>
                  <a:pt x="895528" y="5390"/>
                </a:lnTo>
                <a:lnTo>
                  <a:pt x="844327" y="1361"/>
                </a:lnTo>
                <a:lnTo>
                  <a:pt x="792226" y="0"/>
                </a:lnTo>
                <a:close/>
              </a:path>
            </a:pathLst>
          </a:custGeom>
          <a:solidFill>
            <a:srgbClr val="B6F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165088" y="2308605"/>
            <a:ext cx="1584960" cy="1280160"/>
          </a:xfrm>
          <a:custGeom>
            <a:avLst/>
            <a:gdLst/>
            <a:ahLst/>
            <a:cxnLst/>
            <a:rect l="l" t="t" r="r" b="b"/>
            <a:pathLst>
              <a:path w="1584959" h="1280160">
                <a:moveTo>
                  <a:pt x="0" y="640080"/>
                </a:moveTo>
                <a:lnTo>
                  <a:pt x="1685" y="598001"/>
                </a:lnTo>
                <a:lnTo>
                  <a:pt x="6671" y="556649"/>
                </a:lnTo>
                <a:lnTo>
                  <a:pt x="14853" y="516106"/>
                </a:lnTo>
                <a:lnTo>
                  <a:pt x="26128" y="476459"/>
                </a:lnTo>
                <a:lnTo>
                  <a:pt x="40390" y="437790"/>
                </a:lnTo>
                <a:lnTo>
                  <a:pt x="57535" y="400184"/>
                </a:lnTo>
                <a:lnTo>
                  <a:pt x="77459" y="363727"/>
                </a:lnTo>
                <a:lnTo>
                  <a:pt x="100057" y="328501"/>
                </a:lnTo>
                <a:lnTo>
                  <a:pt x="125225" y="294593"/>
                </a:lnTo>
                <a:lnTo>
                  <a:pt x="152859" y="262085"/>
                </a:lnTo>
                <a:lnTo>
                  <a:pt x="182854" y="231063"/>
                </a:lnTo>
                <a:lnTo>
                  <a:pt x="215105" y="201610"/>
                </a:lnTo>
                <a:lnTo>
                  <a:pt x="249509" y="173812"/>
                </a:lnTo>
                <a:lnTo>
                  <a:pt x="285960" y="147753"/>
                </a:lnTo>
                <a:lnTo>
                  <a:pt x="324355" y="123517"/>
                </a:lnTo>
                <a:lnTo>
                  <a:pt x="364590" y="101188"/>
                </a:lnTo>
                <a:lnTo>
                  <a:pt x="406558" y="80851"/>
                </a:lnTo>
                <a:lnTo>
                  <a:pt x="450157" y="62591"/>
                </a:lnTo>
                <a:lnTo>
                  <a:pt x="495282" y="46492"/>
                </a:lnTo>
                <a:lnTo>
                  <a:pt x="541828" y="32637"/>
                </a:lnTo>
                <a:lnTo>
                  <a:pt x="589691" y="21113"/>
                </a:lnTo>
                <a:lnTo>
                  <a:pt x="638767" y="12002"/>
                </a:lnTo>
                <a:lnTo>
                  <a:pt x="688951" y="5390"/>
                </a:lnTo>
                <a:lnTo>
                  <a:pt x="740139" y="1361"/>
                </a:lnTo>
                <a:lnTo>
                  <a:pt x="792226" y="0"/>
                </a:lnTo>
                <a:lnTo>
                  <a:pt x="844327" y="1361"/>
                </a:lnTo>
                <a:lnTo>
                  <a:pt x="895528" y="5390"/>
                </a:lnTo>
                <a:lnTo>
                  <a:pt x="945724" y="12002"/>
                </a:lnTo>
                <a:lnTo>
                  <a:pt x="994811" y="21113"/>
                </a:lnTo>
                <a:lnTo>
                  <a:pt x="1042685" y="32637"/>
                </a:lnTo>
                <a:lnTo>
                  <a:pt x="1089240" y="46492"/>
                </a:lnTo>
                <a:lnTo>
                  <a:pt x="1134373" y="62591"/>
                </a:lnTo>
                <a:lnTo>
                  <a:pt x="1177980" y="80851"/>
                </a:lnTo>
                <a:lnTo>
                  <a:pt x="1219955" y="101188"/>
                </a:lnTo>
                <a:lnTo>
                  <a:pt x="1260195" y="123517"/>
                </a:lnTo>
                <a:lnTo>
                  <a:pt x="1298595" y="147753"/>
                </a:lnTo>
                <a:lnTo>
                  <a:pt x="1335051" y="173812"/>
                </a:lnTo>
                <a:lnTo>
                  <a:pt x="1369459" y="201610"/>
                </a:lnTo>
                <a:lnTo>
                  <a:pt x="1401714" y="231063"/>
                </a:lnTo>
                <a:lnTo>
                  <a:pt x="1431711" y="262085"/>
                </a:lnTo>
                <a:lnTo>
                  <a:pt x="1459347" y="294593"/>
                </a:lnTo>
                <a:lnTo>
                  <a:pt x="1484517" y="328501"/>
                </a:lnTo>
                <a:lnTo>
                  <a:pt x="1507117" y="363727"/>
                </a:lnTo>
                <a:lnTo>
                  <a:pt x="1527042" y="400184"/>
                </a:lnTo>
                <a:lnTo>
                  <a:pt x="1544187" y="437790"/>
                </a:lnTo>
                <a:lnTo>
                  <a:pt x="1558450" y="476459"/>
                </a:lnTo>
                <a:lnTo>
                  <a:pt x="1569725" y="516106"/>
                </a:lnTo>
                <a:lnTo>
                  <a:pt x="1577907" y="556649"/>
                </a:lnTo>
                <a:lnTo>
                  <a:pt x="1582893" y="598001"/>
                </a:lnTo>
                <a:lnTo>
                  <a:pt x="1584579" y="640080"/>
                </a:lnTo>
                <a:lnTo>
                  <a:pt x="1582893" y="682157"/>
                </a:lnTo>
                <a:lnTo>
                  <a:pt x="1577907" y="723508"/>
                </a:lnTo>
                <a:lnTo>
                  <a:pt x="1569725" y="764047"/>
                </a:lnTo>
                <a:lnTo>
                  <a:pt x="1558450" y="803692"/>
                </a:lnTo>
                <a:lnTo>
                  <a:pt x="1544187" y="842356"/>
                </a:lnTo>
                <a:lnTo>
                  <a:pt x="1527042" y="879956"/>
                </a:lnTo>
                <a:lnTo>
                  <a:pt x="1507117" y="916408"/>
                </a:lnTo>
                <a:lnTo>
                  <a:pt x="1484517" y="951627"/>
                </a:lnTo>
                <a:lnTo>
                  <a:pt x="1459347" y="985529"/>
                </a:lnTo>
                <a:lnTo>
                  <a:pt x="1431711" y="1018029"/>
                </a:lnTo>
                <a:lnTo>
                  <a:pt x="1401714" y="1049044"/>
                </a:lnTo>
                <a:lnTo>
                  <a:pt x="1369459" y="1078489"/>
                </a:lnTo>
                <a:lnTo>
                  <a:pt x="1335051" y="1106280"/>
                </a:lnTo>
                <a:lnTo>
                  <a:pt x="1298595" y="1132331"/>
                </a:lnTo>
                <a:lnTo>
                  <a:pt x="1260195" y="1156560"/>
                </a:lnTo>
                <a:lnTo>
                  <a:pt x="1219955" y="1178881"/>
                </a:lnTo>
                <a:lnTo>
                  <a:pt x="1177980" y="1199211"/>
                </a:lnTo>
                <a:lnTo>
                  <a:pt x="1134373" y="1217465"/>
                </a:lnTo>
                <a:lnTo>
                  <a:pt x="1089240" y="1233559"/>
                </a:lnTo>
                <a:lnTo>
                  <a:pt x="1042685" y="1247408"/>
                </a:lnTo>
                <a:lnTo>
                  <a:pt x="994811" y="1258928"/>
                </a:lnTo>
                <a:lnTo>
                  <a:pt x="945724" y="1268035"/>
                </a:lnTo>
                <a:lnTo>
                  <a:pt x="895528" y="1274644"/>
                </a:lnTo>
                <a:lnTo>
                  <a:pt x="844327" y="1278671"/>
                </a:lnTo>
                <a:lnTo>
                  <a:pt x="792226" y="1280033"/>
                </a:lnTo>
                <a:lnTo>
                  <a:pt x="740139" y="1278671"/>
                </a:lnTo>
                <a:lnTo>
                  <a:pt x="688951" y="1274644"/>
                </a:lnTo>
                <a:lnTo>
                  <a:pt x="638767" y="1268035"/>
                </a:lnTo>
                <a:lnTo>
                  <a:pt x="589691" y="1258928"/>
                </a:lnTo>
                <a:lnTo>
                  <a:pt x="541828" y="1247408"/>
                </a:lnTo>
                <a:lnTo>
                  <a:pt x="495282" y="1233559"/>
                </a:lnTo>
                <a:lnTo>
                  <a:pt x="450157" y="1217465"/>
                </a:lnTo>
                <a:lnTo>
                  <a:pt x="406558" y="1199211"/>
                </a:lnTo>
                <a:lnTo>
                  <a:pt x="364590" y="1178881"/>
                </a:lnTo>
                <a:lnTo>
                  <a:pt x="324355" y="1156560"/>
                </a:lnTo>
                <a:lnTo>
                  <a:pt x="285960" y="1132331"/>
                </a:lnTo>
                <a:lnTo>
                  <a:pt x="249509" y="1106280"/>
                </a:lnTo>
                <a:lnTo>
                  <a:pt x="215105" y="1078489"/>
                </a:lnTo>
                <a:lnTo>
                  <a:pt x="182854" y="1049044"/>
                </a:lnTo>
                <a:lnTo>
                  <a:pt x="152859" y="1018029"/>
                </a:lnTo>
                <a:lnTo>
                  <a:pt x="125225" y="985529"/>
                </a:lnTo>
                <a:lnTo>
                  <a:pt x="100057" y="951627"/>
                </a:lnTo>
                <a:lnTo>
                  <a:pt x="77459" y="916408"/>
                </a:lnTo>
                <a:lnTo>
                  <a:pt x="57535" y="879956"/>
                </a:lnTo>
                <a:lnTo>
                  <a:pt x="40390" y="842356"/>
                </a:lnTo>
                <a:lnTo>
                  <a:pt x="26128" y="803692"/>
                </a:lnTo>
                <a:lnTo>
                  <a:pt x="14853" y="764047"/>
                </a:lnTo>
                <a:lnTo>
                  <a:pt x="6671" y="723508"/>
                </a:lnTo>
                <a:lnTo>
                  <a:pt x="1685" y="682157"/>
                </a:lnTo>
                <a:lnTo>
                  <a:pt x="0" y="64008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6268592" y="2836926"/>
            <a:ext cx="137922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ales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Docume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5232908" y="3429000"/>
            <a:ext cx="932179" cy="64046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232908" y="3429000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48" y="2154"/>
                </a:lnTo>
                <a:lnTo>
                  <a:pt x="572964" y="8458"/>
                </a:lnTo>
                <a:lnTo>
                  <a:pt x="623288" y="18670"/>
                </a:lnTo>
                <a:lnTo>
                  <a:pt x="671070" y="32551"/>
                </a:lnTo>
                <a:lnTo>
                  <a:pt x="715961" y="49861"/>
                </a:lnTo>
                <a:lnTo>
                  <a:pt x="757611" y="70359"/>
                </a:lnTo>
                <a:lnTo>
                  <a:pt x="795670" y="93805"/>
                </a:lnTo>
                <a:lnTo>
                  <a:pt x="829789" y="119959"/>
                </a:lnTo>
                <a:lnTo>
                  <a:pt x="859618" y="148580"/>
                </a:lnTo>
                <a:lnTo>
                  <a:pt x="884808" y="179429"/>
                </a:lnTo>
                <a:lnTo>
                  <a:pt x="905009" y="212265"/>
                </a:lnTo>
                <a:lnTo>
                  <a:pt x="929044" y="282937"/>
                </a:lnTo>
                <a:lnTo>
                  <a:pt x="932179" y="320294"/>
                </a:lnTo>
                <a:lnTo>
                  <a:pt x="929044" y="357624"/>
                </a:lnTo>
                <a:lnTo>
                  <a:pt x="919870" y="393692"/>
                </a:lnTo>
                <a:lnTo>
                  <a:pt x="884808" y="461078"/>
                </a:lnTo>
                <a:lnTo>
                  <a:pt x="859618" y="491914"/>
                </a:lnTo>
                <a:lnTo>
                  <a:pt x="829789" y="520525"/>
                </a:lnTo>
                <a:lnTo>
                  <a:pt x="795670" y="546671"/>
                </a:lnTo>
                <a:lnTo>
                  <a:pt x="757611" y="570111"/>
                </a:lnTo>
                <a:lnTo>
                  <a:pt x="715961" y="590605"/>
                </a:lnTo>
                <a:lnTo>
                  <a:pt x="671070" y="607911"/>
                </a:lnTo>
                <a:lnTo>
                  <a:pt x="623288" y="621791"/>
                </a:lnTo>
                <a:lnTo>
                  <a:pt x="572964" y="632003"/>
                </a:lnTo>
                <a:lnTo>
                  <a:pt x="520448" y="638306"/>
                </a:lnTo>
                <a:lnTo>
                  <a:pt x="466089" y="640461"/>
                </a:lnTo>
                <a:lnTo>
                  <a:pt x="411731" y="638306"/>
                </a:lnTo>
                <a:lnTo>
                  <a:pt x="359215" y="632003"/>
                </a:lnTo>
                <a:lnTo>
                  <a:pt x="308891" y="621791"/>
                </a:lnTo>
                <a:lnTo>
                  <a:pt x="261109" y="607911"/>
                </a:lnTo>
                <a:lnTo>
                  <a:pt x="216218" y="590605"/>
                </a:lnTo>
                <a:lnTo>
                  <a:pt x="174568" y="570111"/>
                </a:lnTo>
                <a:lnTo>
                  <a:pt x="136509" y="546671"/>
                </a:lnTo>
                <a:lnTo>
                  <a:pt x="102390" y="520525"/>
                </a:lnTo>
                <a:lnTo>
                  <a:pt x="72561" y="491914"/>
                </a:lnTo>
                <a:lnTo>
                  <a:pt x="47371" y="461078"/>
                </a:lnTo>
                <a:lnTo>
                  <a:pt x="27170" y="428257"/>
                </a:lnTo>
                <a:lnTo>
                  <a:pt x="3135" y="357624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5497829" y="3670172"/>
            <a:ext cx="405130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Out</a:t>
            </a:r>
            <a:r>
              <a:rPr sz="1000" spc="-10" dirty="0">
                <a:latin typeface="Arial"/>
                <a:cs typeface="Arial"/>
              </a:rPr>
              <a:t>p</a:t>
            </a:r>
            <a:r>
              <a:rPr sz="1000" spc="-5" dirty="0">
                <a:latin typeface="Arial"/>
                <a:cs typeface="Arial"/>
              </a:rPr>
              <a:t>ut</a:t>
            </a:r>
            <a:endParaRPr sz="1000">
              <a:latin typeface="Arial"/>
              <a:cs typeface="Arial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6491223" y="3855339"/>
            <a:ext cx="932179" cy="64046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491223" y="3855339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167"/>
                </a:moveTo>
                <a:lnTo>
                  <a:pt x="12309" y="246768"/>
                </a:lnTo>
                <a:lnTo>
                  <a:pt x="47371" y="179382"/>
                </a:lnTo>
                <a:lnTo>
                  <a:pt x="72561" y="148546"/>
                </a:lnTo>
                <a:lnTo>
                  <a:pt x="102390" y="119935"/>
                </a:lnTo>
                <a:lnTo>
                  <a:pt x="136509" y="93789"/>
                </a:lnTo>
                <a:lnTo>
                  <a:pt x="174568" y="70349"/>
                </a:lnTo>
                <a:lnTo>
                  <a:pt x="216218" y="49855"/>
                </a:lnTo>
                <a:lnTo>
                  <a:pt x="261109" y="32549"/>
                </a:lnTo>
                <a:lnTo>
                  <a:pt x="308891" y="18669"/>
                </a:lnTo>
                <a:lnTo>
                  <a:pt x="359215" y="8457"/>
                </a:lnTo>
                <a:lnTo>
                  <a:pt x="411731" y="2154"/>
                </a:lnTo>
                <a:lnTo>
                  <a:pt x="466090" y="0"/>
                </a:lnTo>
                <a:lnTo>
                  <a:pt x="520448" y="2154"/>
                </a:lnTo>
                <a:lnTo>
                  <a:pt x="572964" y="8457"/>
                </a:lnTo>
                <a:lnTo>
                  <a:pt x="623288" y="18669"/>
                </a:lnTo>
                <a:lnTo>
                  <a:pt x="671070" y="32549"/>
                </a:lnTo>
                <a:lnTo>
                  <a:pt x="715961" y="49855"/>
                </a:lnTo>
                <a:lnTo>
                  <a:pt x="757611" y="70349"/>
                </a:lnTo>
                <a:lnTo>
                  <a:pt x="795670" y="93789"/>
                </a:lnTo>
                <a:lnTo>
                  <a:pt x="829789" y="119935"/>
                </a:lnTo>
                <a:lnTo>
                  <a:pt x="859618" y="148546"/>
                </a:lnTo>
                <a:lnTo>
                  <a:pt x="884808" y="179382"/>
                </a:lnTo>
                <a:lnTo>
                  <a:pt x="905009" y="212203"/>
                </a:lnTo>
                <a:lnTo>
                  <a:pt x="929044" y="282836"/>
                </a:lnTo>
                <a:lnTo>
                  <a:pt x="932179" y="320167"/>
                </a:lnTo>
                <a:lnTo>
                  <a:pt x="929044" y="357523"/>
                </a:lnTo>
                <a:lnTo>
                  <a:pt x="919870" y="393612"/>
                </a:lnTo>
                <a:lnTo>
                  <a:pt x="884808" y="461031"/>
                </a:lnTo>
                <a:lnTo>
                  <a:pt x="859618" y="491880"/>
                </a:lnTo>
                <a:lnTo>
                  <a:pt x="829789" y="520501"/>
                </a:lnTo>
                <a:lnTo>
                  <a:pt x="795670" y="546655"/>
                </a:lnTo>
                <a:lnTo>
                  <a:pt x="757611" y="570101"/>
                </a:lnTo>
                <a:lnTo>
                  <a:pt x="715961" y="590599"/>
                </a:lnTo>
                <a:lnTo>
                  <a:pt x="671070" y="607909"/>
                </a:lnTo>
                <a:lnTo>
                  <a:pt x="623288" y="621790"/>
                </a:lnTo>
                <a:lnTo>
                  <a:pt x="572964" y="632002"/>
                </a:lnTo>
                <a:lnTo>
                  <a:pt x="520448" y="638306"/>
                </a:lnTo>
                <a:lnTo>
                  <a:pt x="466090" y="640461"/>
                </a:lnTo>
                <a:lnTo>
                  <a:pt x="411731" y="638306"/>
                </a:lnTo>
                <a:lnTo>
                  <a:pt x="359215" y="632002"/>
                </a:lnTo>
                <a:lnTo>
                  <a:pt x="308891" y="621790"/>
                </a:lnTo>
                <a:lnTo>
                  <a:pt x="261109" y="607909"/>
                </a:lnTo>
                <a:lnTo>
                  <a:pt x="216218" y="590599"/>
                </a:lnTo>
                <a:lnTo>
                  <a:pt x="174568" y="570101"/>
                </a:lnTo>
                <a:lnTo>
                  <a:pt x="136509" y="546655"/>
                </a:lnTo>
                <a:lnTo>
                  <a:pt x="102390" y="520501"/>
                </a:lnTo>
                <a:lnTo>
                  <a:pt x="72561" y="491880"/>
                </a:lnTo>
                <a:lnTo>
                  <a:pt x="47371" y="461031"/>
                </a:lnTo>
                <a:lnTo>
                  <a:pt x="27170" y="428195"/>
                </a:lnTo>
                <a:lnTo>
                  <a:pt x="3135" y="357523"/>
                </a:lnTo>
                <a:lnTo>
                  <a:pt x="0" y="320167"/>
                </a:lnTo>
                <a:close/>
              </a:path>
            </a:pathLst>
          </a:custGeom>
          <a:ln w="9525">
            <a:solidFill>
              <a:srgbClr val="00D2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6759320" y="4020439"/>
            <a:ext cx="390525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" marR="5080" indent="-635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Credit  Check</a:t>
            </a:r>
            <a:endParaRPr sz="1000">
              <a:latin typeface="Arial"/>
              <a:cs typeface="Arial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7749667" y="3429000"/>
            <a:ext cx="932179" cy="64046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49667" y="3429000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48" y="2154"/>
                </a:lnTo>
                <a:lnTo>
                  <a:pt x="572964" y="8458"/>
                </a:lnTo>
                <a:lnTo>
                  <a:pt x="623288" y="18670"/>
                </a:lnTo>
                <a:lnTo>
                  <a:pt x="671070" y="32551"/>
                </a:lnTo>
                <a:lnTo>
                  <a:pt x="715961" y="49861"/>
                </a:lnTo>
                <a:lnTo>
                  <a:pt x="757611" y="70359"/>
                </a:lnTo>
                <a:lnTo>
                  <a:pt x="795670" y="93805"/>
                </a:lnTo>
                <a:lnTo>
                  <a:pt x="829789" y="119959"/>
                </a:lnTo>
                <a:lnTo>
                  <a:pt x="859618" y="148580"/>
                </a:lnTo>
                <a:lnTo>
                  <a:pt x="884808" y="179429"/>
                </a:lnTo>
                <a:lnTo>
                  <a:pt x="905009" y="212265"/>
                </a:lnTo>
                <a:lnTo>
                  <a:pt x="929044" y="282937"/>
                </a:lnTo>
                <a:lnTo>
                  <a:pt x="932179" y="320294"/>
                </a:lnTo>
                <a:lnTo>
                  <a:pt x="929044" y="357624"/>
                </a:lnTo>
                <a:lnTo>
                  <a:pt x="919870" y="393692"/>
                </a:lnTo>
                <a:lnTo>
                  <a:pt x="884808" y="461078"/>
                </a:lnTo>
                <a:lnTo>
                  <a:pt x="859618" y="491914"/>
                </a:lnTo>
                <a:lnTo>
                  <a:pt x="829789" y="520525"/>
                </a:lnTo>
                <a:lnTo>
                  <a:pt x="795670" y="546671"/>
                </a:lnTo>
                <a:lnTo>
                  <a:pt x="757611" y="570111"/>
                </a:lnTo>
                <a:lnTo>
                  <a:pt x="715961" y="590605"/>
                </a:lnTo>
                <a:lnTo>
                  <a:pt x="671070" y="607911"/>
                </a:lnTo>
                <a:lnTo>
                  <a:pt x="623288" y="621791"/>
                </a:lnTo>
                <a:lnTo>
                  <a:pt x="572964" y="632003"/>
                </a:lnTo>
                <a:lnTo>
                  <a:pt x="520448" y="638306"/>
                </a:lnTo>
                <a:lnTo>
                  <a:pt x="466089" y="640461"/>
                </a:lnTo>
                <a:lnTo>
                  <a:pt x="411731" y="638306"/>
                </a:lnTo>
                <a:lnTo>
                  <a:pt x="359215" y="632003"/>
                </a:lnTo>
                <a:lnTo>
                  <a:pt x="308891" y="621791"/>
                </a:lnTo>
                <a:lnTo>
                  <a:pt x="261109" y="607911"/>
                </a:lnTo>
                <a:lnTo>
                  <a:pt x="216218" y="590605"/>
                </a:lnTo>
                <a:lnTo>
                  <a:pt x="174568" y="570111"/>
                </a:lnTo>
                <a:lnTo>
                  <a:pt x="136509" y="546671"/>
                </a:lnTo>
                <a:lnTo>
                  <a:pt x="102390" y="520525"/>
                </a:lnTo>
                <a:lnTo>
                  <a:pt x="72561" y="491914"/>
                </a:lnTo>
                <a:lnTo>
                  <a:pt x="47371" y="461078"/>
                </a:lnTo>
                <a:lnTo>
                  <a:pt x="27170" y="428257"/>
                </a:lnTo>
                <a:lnTo>
                  <a:pt x="3135" y="357624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7911210" y="3593972"/>
            <a:ext cx="614680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4615" marR="5080" indent="-8255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Sales</a:t>
            </a:r>
            <a:r>
              <a:rPr sz="1000" spc="-9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Info’  </a:t>
            </a:r>
            <a:r>
              <a:rPr sz="1000" spc="-10" dirty="0">
                <a:latin typeface="Arial"/>
                <a:cs typeface="Arial"/>
              </a:rPr>
              <a:t>System</a:t>
            </a:r>
            <a:endParaRPr sz="1000">
              <a:latin typeface="Arial"/>
              <a:cs typeface="Arial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953000" y="2575305"/>
            <a:ext cx="932179" cy="64058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953000" y="2575305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48" y="2154"/>
                </a:lnTo>
                <a:lnTo>
                  <a:pt x="572964" y="8458"/>
                </a:lnTo>
                <a:lnTo>
                  <a:pt x="623288" y="18670"/>
                </a:lnTo>
                <a:lnTo>
                  <a:pt x="671070" y="32551"/>
                </a:lnTo>
                <a:lnTo>
                  <a:pt x="715961" y="49861"/>
                </a:lnTo>
                <a:lnTo>
                  <a:pt x="757611" y="70359"/>
                </a:lnTo>
                <a:lnTo>
                  <a:pt x="795670" y="93805"/>
                </a:lnTo>
                <a:lnTo>
                  <a:pt x="829789" y="119959"/>
                </a:lnTo>
                <a:lnTo>
                  <a:pt x="859618" y="148580"/>
                </a:lnTo>
                <a:lnTo>
                  <a:pt x="884808" y="179429"/>
                </a:lnTo>
                <a:lnTo>
                  <a:pt x="905009" y="212265"/>
                </a:lnTo>
                <a:lnTo>
                  <a:pt x="929044" y="282937"/>
                </a:lnTo>
                <a:lnTo>
                  <a:pt x="932179" y="320294"/>
                </a:lnTo>
                <a:lnTo>
                  <a:pt x="929044" y="357650"/>
                </a:lnTo>
                <a:lnTo>
                  <a:pt x="919870" y="393739"/>
                </a:lnTo>
                <a:lnTo>
                  <a:pt x="884808" y="461158"/>
                </a:lnTo>
                <a:lnTo>
                  <a:pt x="859618" y="492007"/>
                </a:lnTo>
                <a:lnTo>
                  <a:pt x="829789" y="520628"/>
                </a:lnTo>
                <a:lnTo>
                  <a:pt x="795670" y="546782"/>
                </a:lnTo>
                <a:lnTo>
                  <a:pt x="757611" y="570228"/>
                </a:lnTo>
                <a:lnTo>
                  <a:pt x="715961" y="590726"/>
                </a:lnTo>
                <a:lnTo>
                  <a:pt x="671070" y="608036"/>
                </a:lnTo>
                <a:lnTo>
                  <a:pt x="623288" y="621917"/>
                </a:lnTo>
                <a:lnTo>
                  <a:pt x="572964" y="632129"/>
                </a:lnTo>
                <a:lnTo>
                  <a:pt x="520448" y="638433"/>
                </a:lnTo>
                <a:lnTo>
                  <a:pt x="466089" y="640588"/>
                </a:lnTo>
                <a:lnTo>
                  <a:pt x="411731" y="638433"/>
                </a:lnTo>
                <a:lnTo>
                  <a:pt x="359215" y="632129"/>
                </a:lnTo>
                <a:lnTo>
                  <a:pt x="308891" y="621917"/>
                </a:lnTo>
                <a:lnTo>
                  <a:pt x="261109" y="608036"/>
                </a:lnTo>
                <a:lnTo>
                  <a:pt x="216218" y="590726"/>
                </a:lnTo>
                <a:lnTo>
                  <a:pt x="174568" y="570228"/>
                </a:lnTo>
                <a:lnTo>
                  <a:pt x="136509" y="546782"/>
                </a:lnTo>
                <a:lnTo>
                  <a:pt x="102390" y="520628"/>
                </a:lnTo>
                <a:lnTo>
                  <a:pt x="72561" y="492007"/>
                </a:lnTo>
                <a:lnTo>
                  <a:pt x="47371" y="461158"/>
                </a:lnTo>
                <a:lnTo>
                  <a:pt x="27170" y="428322"/>
                </a:lnTo>
                <a:lnTo>
                  <a:pt x="3135" y="357650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5283453" y="2816478"/>
            <a:ext cx="274320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5" dirty="0">
                <a:latin typeface="Arial"/>
                <a:cs typeface="Arial"/>
              </a:rPr>
              <a:t>T</a:t>
            </a:r>
            <a:r>
              <a:rPr sz="1000" spc="-5" dirty="0">
                <a:latin typeface="Arial"/>
                <a:cs typeface="Arial"/>
              </a:rPr>
              <a:t>ext</a:t>
            </a:r>
            <a:endParaRPr sz="1000">
              <a:latin typeface="Arial"/>
              <a:cs typeface="Arial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5279135" y="1775205"/>
            <a:ext cx="932306" cy="64058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279135" y="1775205"/>
            <a:ext cx="932815" cy="640715"/>
          </a:xfrm>
          <a:custGeom>
            <a:avLst/>
            <a:gdLst/>
            <a:ahLst/>
            <a:cxnLst/>
            <a:rect l="l" t="t" r="r" b="b"/>
            <a:pathLst>
              <a:path w="932814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50" y="2154"/>
                </a:lnTo>
                <a:lnTo>
                  <a:pt x="572971" y="8458"/>
                </a:lnTo>
                <a:lnTo>
                  <a:pt x="623303" y="18670"/>
                </a:lnTo>
                <a:lnTo>
                  <a:pt x="671096" y="32551"/>
                </a:lnTo>
                <a:lnTo>
                  <a:pt x="715998" y="49861"/>
                </a:lnTo>
                <a:lnTo>
                  <a:pt x="757661" y="70359"/>
                </a:lnTo>
                <a:lnTo>
                  <a:pt x="795734" y="93805"/>
                </a:lnTo>
                <a:lnTo>
                  <a:pt x="829866" y="119959"/>
                </a:lnTo>
                <a:lnTo>
                  <a:pt x="859708" y="148580"/>
                </a:lnTo>
                <a:lnTo>
                  <a:pt x="884910" y="179429"/>
                </a:lnTo>
                <a:lnTo>
                  <a:pt x="905121" y="212265"/>
                </a:lnTo>
                <a:lnTo>
                  <a:pt x="929169" y="282937"/>
                </a:lnTo>
                <a:lnTo>
                  <a:pt x="932306" y="320294"/>
                </a:lnTo>
                <a:lnTo>
                  <a:pt x="929169" y="357650"/>
                </a:lnTo>
                <a:lnTo>
                  <a:pt x="919990" y="393739"/>
                </a:lnTo>
                <a:lnTo>
                  <a:pt x="884910" y="461158"/>
                </a:lnTo>
                <a:lnTo>
                  <a:pt x="859708" y="492007"/>
                </a:lnTo>
                <a:lnTo>
                  <a:pt x="829866" y="520628"/>
                </a:lnTo>
                <a:lnTo>
                  <a:pt x="795734" y="546782"/>
                </a:lnTo>
                <a:lnTo>
                  <a:pt x="757661" y="570228"/>
                </a:lnTo>
                <a:lnTo>
                  <a:pt x="715998" y="590726"/>
                </a:lnTo>
                <a:lnTo>
                  <a:pt x="671096" y="608036"/>
                </a:lnTo>
                <a:lnTo>
                  <a:pt x="623303" y="621917"/>
                </a:lnTo>
                <a:lnTo>
                  <a:pt x="572971" y="632129"/>
                </a:lnTo>
                <a:lnTo>
                  <a:pt x="520450" y="638433"/>
                </a:lnTo>
                <a:lnTo>
                  <a:pt x="466089" y="640588"/>
                </a:lnTo>
                <a:lnTo>
                  <a:pt x="411731" y="638433"/>
                </a:lnTo>
                <a:lnTo>
                  <a:pt x="359215" y="632129"/>
                </a:lnTo>
                <a:lnTo>
                  <a:pt x="308891" y="621917"/>
                </a:lnTo>
                <a:lnTo>
                  <a:pt x="261109" y="608036"/>
                </a:lnTo>
                <a:lnTo>
                  <a:pt x="216218" y="590726"/>
                </a:lnTo>
                <a:lnTo>
                  <a:pt x="174568" y="570228"/>
                </a:lnTo>
                <a:lnTo>
                  <a:pt x="136509" y="546782"/>
                </a:lnTo>
                <a:lnTo>
                  <a:pt x="102390" y="520628"/>
                </a:lnTo>
                <a:lnTo>
                  <a:pt x="72561" y="492007"/>
                </a:lnTo>
                <a:lnTo>
                  <a:pt x="47371" y="461158"/>
                </a:lnTo>
                <a:lnTo>
                  <a:pt x="27170" y="428322"/>
                </a:lnTo>
                <a:lnTo>
                  <a:pt x="3135" y="357650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 txBox="1"/>
          <p:nvPr/>
        </p:nvSpPr>
        <p:spPr>
          <a:xfrm>
            <a:off x="5438902" y="1939797"/>
            <a:ext cx="619125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3510" marR="5080" indent="-131445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A</a:t>
            </a:r>
            <a:r>
              <a:rPr sz="1000" spc="-15" dirty="0">
                <a:latin typeface="Arial"/>
                <a:cs typeface="Arial"/>
              </a:rPr>
              <a:t>v</a:t>
            </a:r>
            <a:r>
              <a:rPr sz="1000" spc="-5" dirty="0">
                <a:latin typeface="Arial"/>
                <a:cs typeface="Arial"/>
              </a:rPr>
              <a:t>a</a:t>
            </a:r>
            <a:r>
              <a:rPr sz="1000" spc="-15" dirty="0">
                <a:latin typeface="Arial"/>
                <a:cs typeface="Arial"/>
              </a:rPr>
              <a:t>i</a:t>
            </a:r>
            <a:r>
              <a:rPr sz="1000" spc="-10" dirty="0">
                <a:latin typeface="Arial"/>
                <a:cs typeface="Arial"/>
              </a:rPr>
              <a:t>l</a:t>
            </a:r>
            <a:r>
              <a:rPr sz="1000" spc="-5" dirty="0">
                <a:latin typeface="Arial"/>
                <a:cs typeface="Arial"/>
              </a:rPr>
              <a:t>a</a:t>
            </a:r>
            <a:r>
              <a:rPr sz="1000" spc="-10" dirty="0">
                <a:latin typeface="Arial"/>
                <a:cs typeface="Arial"/>
              </a:rPr>
              <a:t>bili</a:t>
            </a:r>
            <a:r>
              <a:rPr sz="1000" spc="0" dirty="0">
                <a:latin typeface="Arial"/>
                <a:cs typeface="Arial"/>
              </a:rPr>
              <a:t>t</a:t>
            </a:r>
            <a:r>
              <a:rPr sz="1000" spc="-5" dirty="0">
                <a:latin typeface="Arial"/>
                <a:cs typeface="Arial"/>
              </a:rPr>
              <a:t>y  Check</a:t>
            </a:r>
            <a:endParaRPr sz="1000">
              <a:latin typeface="Arial"/>
              <a:cs typeface="Arial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6444996" y="1295400"/>
            <a:ext cx="932179" cy="64046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444996" y="1295400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48" y="2154"/>
                </a:lnTo>
                <a:lnTo>
                  <a:pt x="572964" y="8458"/>
                </a:lnTo>
                <a:lnTo>
                  <a:pt x="623288" y="18670"/>
                </a:lnTo>
                <a:lnTo>
                  <a:pt x="671070" y="32551"/>
                </a:lnTo>
                <a:lnTo>
                  <a:pt x="715961" y="49861"/>
                </a:lnTo>
                <a:lnTo>
                  <a:pt x="757611" y="70359"/>
                </a:lnTo>
                <a:lnTo>
                  <a:pt x="795670" y="93805"/>
                </a:lnTo>
                <a:lnTo>
                  <a:pt x="829789" y="119959"/>
                </a:lnTo>
                <a:lnTo>
                  <a:pt x="859618" y="148580"/>
                </a:lnTo>
                <a:lnTo>
                  <a:pt x="884808" y="179429"/>
                </a:lnTo>
                <a:lnTo>
                  <a:pt x="905009" y="212265"/>
                </a:lnTo>
                <a:lnTo>
                  <a:pt x="929044" y="282937"/>
                </a:lnTo>
                <a:lnTo>
                  <a:pt x="932179" y="320294"/>
                </a:lnTo>
                <a:lnTo>
                  <a:pt x="929044" y="357624"/>
                </a:lnTo>
                <a:lnTo>
                  <a:pt x="919870" y="393692"/>
                </a:lnTo>
                <a:lnTo>
                  <a:pt x="884808" y="461078"/>
                </a:lnTo>
                <a:lnTo>
                  <a:pt x="859618" y="491914"/>
                </a:lnTo>
                <a:lnTo>
                  <a:pt x="829789" y="520525"/>
                </a:lnTo>
                <a:lnTo>
                  <a:pt x="795670" y="546671"/>
                </a:lnTo>
                <a:lnTo>
                  <a:pt x="757611" y="570111"/>
                </a:lnTo>
                <a:lnTo>
                  <a:pt x="715961" y="590605"/>
                </a:lnTo>
                <a:lnTo>
                  <a:pt x="671070" y="607911"/>
                </a:lnTo>
                <a:lnTo>
                  <a:pt x="623288" y="621791"/>
                </a:lnTo>
                <a:lnTo>
                  <a:pt x="572964" y="632003"/>
                </a:lnTo>
                <a:lnTo>
                  <a:pt x="520448" y="638306"/>
                </a:lnTo>
                <a:lnTo>
                  <a:pt x="466089" y="640461"/>
                </a:lnTo>
                <a:lnTo>
                  <a:pt x="411731" y="638306"/>
                </a:lnTo>
                <a:lnTo>
                  <a:pt x="359215" y="632003"/>
                </a:lnTo>
                <a:lnTo>
                  <a:pt x="308891" y="621791"/>
                </a:lnTo>
                <a:lnTo>
                  <a:pt x="261109" y="607911"/>
                </a:lnTo>
                <a:lnTo>
                  <a:pt x="216218" y="590605"/>
                </a:lnTo>
                <a:lnTo>
                  <a:pt x="174568" y="570111"/>
                </a:lnTo>
                <a:lnTo>
                  <a:pt x="136509" y="546671"/>
                </a:lnTo>
                <a:lnTo>
                  <a:pt x="102390" y="520525"/>
                </a:lnTo>
                <a:lnTo>
                  <a:pt x="72561" y="491914"/>
                </a:lnTo>
                <a:lnTo>
                  <a:pt x="47371" y="461078"/>
                </a:lnTo>
                <a:lnTo>
                  <a:pt x="27170" y="428257"/>
                </a:lnTo>
                <a:lnTo>
                  <a:pt x="3135" y="357624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>
            <a:off x="6604761" y="1460119"/>
            <a:ext cx="649605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858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Delivery  </a:t>
            </a:r>
            <a:r>
              <a:rPr sz="1000" spc="-10" dirty="0">
                <a:latin typeface="Arial"/>
                <a:cs typeface="Arial"/>
              </a:rPr>
              <a:t>S</a:t>
            </a:r>
            <a:r>
              <a:rPr sz="1000" dirty="0">
                <a:latin typeface="Arial"/>
                <a:cs typeface="Arial"/>
              </a:rPr>
              <a:t>c</a:t>
            </a:r>
            <a:r>
              <a:rPr sz="1000" spc="-5" dirty="0">
                <a:latin typeface="Arial"/>
                <a:cs typeface="Arial"/>
              </a:rPr>
              <a:t>h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spc="-5" dirty="0">
                <a:latin typeface="Arial"/>
                <a:cs typeface="Arial"/>
              </a:rPr>
              <a:t>d</a:t>
            </a:r>
            <a:r>
              <a:rPr sz="1000" spc="-10" dirty="0">
                <a:latin typeface="Arial"/>
                <a:cs typeface="Arial"/>
              </a:rPr>
              <a:t>uli</a:t>
            </a:r>
            <a:r>
              <a:rPr sz="1000" spc="-5" dirty="0">
                <a:latin typeface="Arial"/>
                <a:cs typeface="Arial"/>
              </a:rPr>
              <a:t>ng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7563357" y="1615694"/>
            <a:ext cx="932307" cy="63944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563357" y="1615694"/>
            <a:ext cx="932815" cy="639445"/>
          </a:xfrm>
          <a:custGeom>
            <a:avLst/>
            <a:gdLst/>
            <a:ahLst/>
            <a:cxnLst/>
            <a:rect l="l" t="t" r="r" b="b"/>
            <a:pathLst>
              <a:path w="932815" h="639444">
                <a:moveTo>
                  <a:pt x="0" y="319658"/>
                </a:moveTo>
                <a:lnTo>
                  <a:pt x="12309" y="246368"/>
                </a:lnTo>
                <a:lnTo>
                  <a:pt x="47371" y="179086"/>
                </a:lnTo>
                <a:lnTo>
                  <a:pt x="72561" y="148299"/>
                </a:lnTo>
                <a:lnTo>
                  <a:pt x="102390" y="119733"/>
                </a:lnTo>
                <a:lnTo>
                  <a:pt x="136509" y="93630"/>
                </a:lnTo>
                <a:lnTo>
                  <a:pt x="174568" y="70229"/>
                </a:lnTo>
                <a:lnTo>
                  <a:pt x="216218" y="49770"/>
                </a:lnTo>
                <a:lnTo>
                  <a:pt x="261109" y="32492"/>
                </a:lnTo>
                <a:lnTo>
                  <a:pt x="308891" y="18637"/>
                </a:lnTo>
                <a:lnTo>
                  <a:pt x="359215" y="8443"/>
                </a:lnTo>
                <a:lnTo>
                  <a:pt x="411731" y="2150"/>
                </a:lnTo>
                <a:lnTo>
                  <a:pt x="466090" y="0"/>
                </a:lnTo>
                <a:lnTo>
                  <a:pt x="520450" y="2150"/>
                </a:lnTo>
                <a:lnTo>
                  <a:pt x="572971" y="8443"/>
                </a:lnTo>
                <a:lnTo>
                  <a:pt x="623303" y="18637"/>
                </a:lnTo>
                <a:lnTo>
                  <a:pt x="671096" y="32492"/>
                </a:lnTo>
                <a:lnTo>
                  <a:pt x="715998" y="49770"/>
                </a:lnTo>
                <a:lnTo>
                  <a:pt x="757661" y="70229"/>
                </a:lnTo>
                <a:lnTo>
                  <a:pt x="795734" y="93630"/>
                </a:lnTo>
                <a:lnTo>
                  <a:pt x="829866" y="119733"/>
                </a:lnTo>
                <a:lnTo>
                  <a:pt x="859708" y="148299"/>
                </a:lnTo>
                <a:lnTo>
                  <a:pt x="884910" y="179086"/>
                </a:lnTo>
                <a:lnTo>
                  <a:pt x="905121" y="211856"/>
                </a:lnTo>
                <a:lnTo>
                  <a:pt x="929169" y="282382"/>
                </a:lnTo>
                <a:lnTo>
                  <a:pt x="932307" y="319658"/>
                </a:lnTo>
                <a:lnTo>
                  <a:pt x="929169" y="356960"/>
                </a:lnTo>
                <a:lnTo>
                  <a:pt x="919990" y="392996"/>
                </a:lnTo>
                <a:lnTo>
                  <a:pt x="884910" y="460312"/>
                </a:lnTo>
                <a:lnTo>
                  <a:pt x="859708" y="491112"/>
                </a:lnTo>
                <a:lnTo>
                  <a:pt x="829866" y="519687"/>
                </a:lnTo>
                <a:lnTo>
                  <a:pt x="795734" y="545798"/>
                </a:lnTo>
                <a:lnTo>
                  <a:pt x="757661" y="569205"/>
                </a:lnTo>
                <a:lnTo>
                  <a:pt x="715998" y="589669"/>
                </a:lnTo>
                <a:lnTo>
                  <a:pt x="671096" y="606949"/>
                </a:lnTo>
                <a:lnTo>
                  <a:pt x="623303" y="620806"/>
                </a:lnTo>
                <a:lnTo>
                  <a:pt x="572971" y="631001"/>
                </a:lnTo>
                <a:lnTo>
                  <a:pt x="520450" y="637294"/>
                </a:lnTo>
                <a:lnTo>
                  <a:pt x="466090" y="639444"/>
                </a:lnTo>
                <a:lnTo>
                  <a:pt x="411731" y="637294"/>
                </a:lnTo>
                <a:lnTo>
                  <a:pt x="359215" y="631001"/>
                </a:lnTo>
                <a:lnTo>
                  <a:pt x="308891" y="620806"/>
                </a:lnTo>
                <a:lnTo>
                  <a:pt x="261109" y="606949"/>
                </a:lnTo>
                <a:lnTo>
                  <a:pt x="216218" y="589669"/>
                </a:lnTo>
                <a:lnTo>
                  <a:pt x="174568" y="569205"/>
                </a:lnTo>
                <a:lnTo>
                  <a:pt x="136509" y="545798"/>
                </a:lnTo>
                <a:lnTo>
                  <a:pt x="102390" y="519687"/>
                </a:lnTo>
                <a:lnTo>
                  <a:pt x="72561" y="491112"/>
                </a:lnTo>
                <a:lnTo>
                  <a:pt x="47371" y="460312"/>
                </a:lnTo>
                <a:lnTo>
                  <a:pt x="27170" y="427527"/>
                </a:lnTo>
                <a:lnTo>
                  <a:pt x="3135" y="356960"/>
                </a:lnTo>
                <a:lnTo>
                  <a:pt x="0" y="319658"/>
                </a:lnTo>
                <a:close/>
              </a:path>
            </a:pathLst>
          </a:custGeom>
          <a:ln w="9525">
            <a:solidFill>
              <a:srgbClr val="FFFF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7673085" y="1779778"/>
            <a:ext cx="751205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39370">
              <a:lnSpc>
                <a:spcPct val="100000"/>
              </a:lnSpc>
            </a:pPr>
            <a:r>
              <a:rPr sz="1000" dirty="0">
                <a:latin typeface="Arial"/>
                <a:cs typeface="Arial"/>
              </a:rPr>
              <a:t>Transfer </a:t>
            </a:r>
            <a:r>
              <a:rPr sz="1000" spc="-5" dirty="0">
                <a:latin typeface="Arial"/>
                <a:cs typeface="Arial"/>
              </a:rPr>
              <a:t>of  Req</a:t>
            </a:r>
            <a:r>
              <a:rPr sz="1000" spc="-10" dirty="0">
                <a:latin typeface="Arial"/>
                <a:cs typeface="Arial"/>
              </a:rPr>
              <a:t>ui</a:t>
            </a:r>
            <a:r>
              <a:rPr sz="1000" spc="-5" dirty="0">
                <a:latin typeface="Arial"/>
                <a:cs typeface="Arial"/>
              </a:rPr>
              <a:t>re</a:t>
            </a:r>
            <a:r>
              <a:rPr sz="1000" spc="10" dirty="0">
                <a:latin typeface="Arial"/>
                <a:cs typeface="Arial"/>
              </a:rPr>
              <a:t>m</a:t>
            </a:r>
            <a:r>
              <a:rPr sz="1000" spc="-5" dirty="0">
                <a:latin typeface="Arial"/>
                <a:cs typeface="Arial"/>
              </a:rPr>
              <a:t>e</a:t>
            </a:r>
            <a:r>
              <a:rPr sz="1000" spc="-10" dirty="0">
                <a:latin typeface="Arial"/>
                <a:cs typeface="Arial"/>
              </a:rPr>
              <a:t>n</a:t>
            </a:r>
            <a:r>
              <a:rPr sz="1000" spc="-5" dirty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7983219" y="2575305"/>
            <a:ext cx="932179" cy="64058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983219" y="2575305"/>
            <a:ext cx="932180" cy="640715"/>
          </a:xfrm>
          <a:custGeom>
            <a:avLst/>
            <a:gdLst/>
            <a:ahLst/>
            <a:cxnLst/>
            <a:rect l="l" t="t" r="r" b="b"/>
            <a:pathLst>
              <a:path w="932179" h="640714">
                <a:moveTo>
                  <a:pt x="0" y="320294"/>
                </a:moveTo>
                <a:lnTo>
                  <a:pt x="12309" y="246848"/>
                </a:lnTo>
                <a:lnTo>
                  <a:pt x="47371" y="179429"/>
                </a:lnTo>
                <a:lnTo>
                  <a:pt x="72561" y="148580"/>
                </a:lnTo>
                <a:lnTo>
                  <a:pt x="102390" y="119959"/>
                </a:lnTo>
                <a:lnTo>
                  <a:pt x="136509" y="93805"/>
                </a:lnTo>
                <a:lnTo>
                  <a:pt x="174568" y="70359"/>
                </a:lnTo>
                <a:lnTo>
                  <a:pt x="216218" y="49861"/>
                </a:lnTo>
                <a:lnTo>
                  <a:pt x="261109" y="32551"/>
                </a:lnTo>
                <a:lnTo>
                  <a:pt x="308891" y="18670"/>
                </a:lnTo>
                <a:lnTo>
                  <a:pt x="359215" y="8458"/>
                </a:lnTo>
                <a:lnTo>
                  <a:pt x="411731" y="2154"/>
                </a:lnTo>
                <a:lnTo>
                  <a:pt x="466089" y="0"/>
                </a:lnTo>
                <a:lnTo>
                  <a:pt x="520448" y="2154"/>
                </a:lnTo>
                <a:lnTo>
                  <a:pt x="572964" y="8458"/>
                </a:lnTo>
                <a:lnTo>
                  <a:pt x="623288" y="18670"/>
                </a:lnTo>
                <a:lnTo>
                  <a:pt x="671070" y="32551"/>
                </a:lnTo>
                <a:lnTo>
                  <a:pt x="715961" y="49861"/>
                </a:lnTo>
                <a:lnTo>
                  <a:pt x="757611" y="70359"/>
                </a:lnTo>
                <a:lnTo>
                  <a:pt x="795670" y="93805"/>
                </a:lnTo>
                <a:lnTo>
                  <a:pt x="829789" y="119959"/>
                </a:lnTo>
                <a:lnTo>
                  <a:pt x="859618" y="148580"/>
                </a:lnTo>
                <a:lnTo>
                  <a:pt x="884808" y="179429"/>
                </a:lnTo>
                <a:lnTo>
                  <a:pt x="905009" y="212265"/>
                </a:lnTo>
                <a:lnTo>
                  <a:pt x="929044" y="282937"/>
                </a:lnTo>
                <a:lnTo>
                  <a:pt x="932179" y="320294"/>
                </a:lnTo>
                <a:lnTo>
                  <a:pt x="929044" y="357650"/>
                </a:lnTo>
                <a:lnTo>
                  <a:pt x="919870" y="393739"/>
                </a:lnTo>
                <a:lnTo>
                  <a:pt x="884808" y="461158"/>
                </a:lnTo>
                <a:lnTo>
                  <a:pt x="859618" y="492007"/>
                </a:lnTo>
                <a:lnTo>
                  <a:pt x="829789" y="520628"/>
                </a:lnTo>
                <a:lnTo>
                  <a:pt x="795670" y="546782"/>
                </a:lnTo>
                <a:lnTo>
                  <a:pt x="757611" y="570228"/>
                </a:lnTo>
                <a:lnTo>
                  <a:pt x="715961" y="590726"/>
                </a:lnTo>
                <a:lnTo>
                  <a:pt x="671070" y="608036"/>
                </a:lnTo>
                <a:lnTo>
                  <a:pt x="623288" y="621917"/>
                </a:lnTo>
                <a:lnTo>
                  <a:pt x="572964" y="632129"/>
                </a:lnTo>
                <a:lnTo>
                  <a:pt x="520448" y="638433"/>
                </a:lnTo>
                <a:lnTo>
                  <a:pt x="466089" y="640588"/>
                </a:lnTo>
                <a:lnTo>
                  <a:pt x="411731" y="638433"/>
                </a:lnTo>
                <a:lnTo>
                  <a:pt x="359215" y="632129"/>
                </a:lnTo>
                <a:lnTo>
                  <a:pt x="308891" y="621917"/>
                </a:lnTo>
                <a:lnTo>
                  <a:pt x="261109" y="608036"/>
                </a:lnTo>
                <a:lnTo>
                  <a:pt x="216218" y="590726"/>
                </a:lnTo>
                <a:lnTo>
                  <a:pt x="174568" y="570228"/>
                </a:lnTo>
                <a:lnTo>
                  <a:pt x="136509" y="546782"/>
                </a:lnTo>
                <a:lnTo>
                  <a:pt x="102390" y="520628"/>
                </a:lnTo>
                <a:lnTo>
                  <a:pt x="72561" y="492007"/>
                </a:lnTo>
                <a:lnTo>
                  <a:pt x="47371" y="461158"/>
                </a:lnTo>
                <a:lnTo>
                  <a:pt x="27170" y="428322"/>
                </a:lnTo>
                <a:lnTo>
                  <a:pt x="3135" y="357650"/>
                </a:lnTo>
                <a:lnTo>
                  <a:pt x="0" y="32029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8245602" y="2816478"/>
            <a:ext cx="411480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P</a:t>
            </a:r>
            <a:r>
              <a:rPr sz="1000" spc="-5" dirty="0">
                <a:latin typeface="Arial"/>
                <a:cs typeface="Arial"/>
              </a:rPr>
              <a:t>r</a:t>
            </a:r>
            <a:r>
              <a:rPr sz="1000" spc="-10" dirty="0">
                <a:latin typeface="Arial"/>
                <a:cs typeface="Arial"/>
              </a:rPr>
              <a:t>i</a:t>
            </a:r>
            <a:r>
              <a:rPr sz="1000" dirty="0">
                <a:latin typeface="Arial"/>
                <a:cs typeface="Arial"/>
              </a:rPr>
              <a:t>c</a:t>
            </a:r>
            <a:r>
              <a:rPr sz="1000" spc="-10" dirty="0">
                <a:latin typeface="Arial"/>
                <a:cs typeface="Arial"/>
              </a:rPr>
              <a:t>i</a:t>
            </a:r>
            <a:r>
              <a:rPr sz="1000" spc="-5" dirty="0">
                <a:latin typeface="Arial"/>
                <a:cs typeface="Arial"/>
              </a:rPr>
              <a:t>ng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6719" y="1847088"/>
            <a:ext cx="574548" cy="5821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737616" y="2356104"/>
            <a:ext cx="652272" cy="6614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59196" y="260604"/>
            <a:ext cx="886968" cy="8976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70" dirty="0"/>
              <a:t> </a:t>
            </a:r>
            <a:r>
              <a:rPr dirty="0"/>
              <a:t>Sales</a:t>
            </a:r>
          </a:p>
        </p:txBody>
      </p:sp>
      <p:sp>
        <p:nvSpPr>
          <p:cNvPr id="10" name="object 10"/>
          <p:cNvSpPr/>
          <p:nvPr/>
        </p:nvSpPr>
        <p:spPr>
          <a:xfrm>
            <a:off x="533400" y="1371600"/>
            <a:ext cx="3886200" cy="25146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572000" y="1524000"/>
            <a:ext cx="3962400" cy="23622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33400" y="4038600"/>
            <a:ext cx="3886200" cy="21336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803775" y="4150741"/>
            <a:ext cx="3371215" cy="1475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400" spc="-85" dirty="0">
                <a:latin typeface="Times New Roman"/>
                <a:cs typeface="Times New Roman"/>
              </a:rPr>
              <a:t>VA01 </a:t>
            </a:r>
            <a:r>
              <a:rPr sz="2400" spc="-5" dirty="0">
                <a:latin typeface="Times New Roman"/>
                <a:cs typeface="Times New Roman"/>
              </a:rPr>
              <a:t>– </a:t>
            </a:r>
            <a:r>
              <a:rPr sz="2400" dirty="0">
                <a:latin typeface="Times New Roman"/>
                <a:cs typeface="Times New Roman"/>
              </a:rPr>
              <a:t>Create sales order  </a:t>
            </a:r>
            <a:r>
              <a:rPr sz="2400" spc="-85" dirty="0">
                <a:latin typeface="Times New Roman"/>
                <a:cs typeface="Times New Roman"/>
              </a:rPr>
              <a:t>VA02 </a:t>
            </a:r>
            <a:r>
              <a:rPr sz="2400" spc="-5" dirty="0">
                <a:latin typeface="Times New Roman"/>
                <a:cs typeface="Times New Roman"/>
              </a:rPr>
              <a:t>– Change </a:t>
            </a:r>
            <a:r>
              <a:rPr sz="2400" dirty="0">
                <a:latin typeface="Times New Roman"/>
                <a:cs typeface="Times New Roman"/>
              </a:rPr>
              <a:t>sales order  </a:t>
            </a:r>
            <a:r>
              <a:rPr sz="2400" spc="-85" dirty="0">
                <a:latin typeface="Times New Roman"/>
                <a:cs typeface="Times New Roman"/>
              </a:rPr>
              <a:t>VA03 </a:t>
            </a:r>
            <a:r>
              <a:rPr sz="2400" spc="-5" dirty="0">
                <a:latin typeface="Times New Roman"/>
                <a:cs typeface="Times New Roman"/>
              </a:rPr>
              <a:t>– </a:t>
            </a:r>
            <a:r>
              <a:rPr sz="2400" dirty="0">
                <a:latin typeface="Times New Roman"/>
                <a:cs typeface="Times New Roman"/>
              </a:rPr>
              <a:t>Display sales order  </a:t>
            </a:r>
            <a:r>
              <a:rPr sz="2400" spc="-85" dirty="0">
                <a:latin typeface="Times New Roman"/>
                <a:cs typeface="Times New Roman"/>
              </a:rPr>
              <a:t>VA05 </a:t>
            </a:r>
            <a:r>
              <a:rPr sz="2400" dirty="0">
                <a:latin typeface="Times New Roman"/>
                <a:cs typeface="Times New Roman"/>
              </a:rPr>
              <a:t>– List of sales</a:t>
            </a:r>
            <a:r>
              <a:rPr sz="2400" spc="-20" dirty="0">
                <a:latin typeface="Times New Roman"/>
                <a:cs typeface="Times New Roman"/>
              </a:rPr>
              <a:t> </a:t>
            </a:r>
            <a:r>
              <a:rPr sz="2400" dirty="0">
                <a:latin typeface="Times New Roman"/>
                <a:cs typeface="Times New Roman"/>
              </a:rPr>
              <a:t>orders</a:t>
            </a:r>
            <a:endParaRPr sz="24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8140" y="5771388"/>
            <a:ext cx="336804" cy="3413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473952" y="260604"/>
            <a:ext cx="886968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60" dirty="0"/>
              <a:t> </a:t>
            </a:r>
            <a:r>
              <a:rPr dirty="0"/>
              <a:t>Delivery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473151" y="1287526"/>
            <a:ext cx="7811134" cy="4508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b="1" spc="-5" dirty="0">
                <a:latin typeface="Arial"/>
                <a:cs typeface="Arial"/>
              </a:rPr>
              <a:t>Shipping process begins </a:t>
            </a:r>
            <a:r>
              <a:rPr sz="1600" b="1" spc="5" dirty="0">
                <a:latin typeface="Arial"/>
                <a:cs typeface="Arial"/>
              </a:rPr>
              <a:t>with</a:t>
            </a:r>
            <a:r>
              <a:rPr sz="1600" b="1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Outbound</a:t>
            </a:r>
            <a:endParaRPr sz="160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document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reation</a:t>
            </a:r>
            <a:endParaRPr sz="1600">
              <a:latin typeface="Arial"/>
              <a:cs typeface="Arial"/>
            </a:endParaRPr>
          </a:p>
          <a:p>
            <a:pPr marL="355600" marR="2919730" indent="-342900">
              <a:lnSpc>
                <a:spcPct val="100000"/>
              </a:lnSpc>
              <a:spcBef>
                <a:spcPts val="384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b="1" spc="-10" dirty="0">
                <a:latin typeface="Arial"/>
                <a:cs typeface="Arial"/>
              </a:rPr>
              <a:t>The delivery </a:t>
            </a:r>
            <a:r>
              <a:rPr sz="1600" b="1" spc="-5" dirty="0">
                <a:latin typeface="Arial"/>
                <a:cs typeface="Arial"/>
              </a:rPr>
              <a:t>can be created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5" dirty="0">
                <a:latin typeface="Arial"/>
                <a:cs typeface="Arial"/>
              </a:rPr>
              <a:t>/ </a:t>
            </a:r>
            <a:r>
              <a:rPr sz="1600" b="1" dirty="0">
                <a:latin typeface="Arial"/>
                <a:cs typeface="Arial"/>
              </a:rPr>
              <a:t>without  </a:t>
            </a:r>
            <a:r>
              <a:rPr sz="1600" b="1" spc="-5" dirty="0">
                <a:latin typeface="Arial"/>
                <a:cs typeface="Arial"/>
              </a:rPr>
              <a:t>reference to a preceding document (order), </a:t>
            </a:r>
            <a:r>
              <a:rPr sz="1600" b="1" spc="-10" dirty="0">
                <a:latin typeface="Arial"/>
                <a:cs typeface="Arial"/>
              </a:rPr>
              <a:t>but  </a:t>
            </a:r>
            <a:r>
              <a:rPr sz="1600" b="1" spc="-5" dirty="0">
                <a:latin typeface="Arial"/>
                <a:cs typeface="Arial"/>
              </a:rPr>
              <a:t>in general it is always created </a:t>
            </a:r>
            <a:r>
              <a:rPr sz="1600" b="1" spc="5" dirty="0">
                <a:latin typeface="Arial"/>
                <a:cs typeface="Arial"/>
              </a:rPr>
              <a:t>with</a:t>
            </a:r>
            <a:r>
              <a:rPr sz="1600" b="1" spc="7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reference</a:t>
            </a:r>
            <a:endParaRPr sz="1600">
              <a:latin typeface="Arial"/>
              <a:cs typeface="Arial"/>
            </a:endParaRPr>
          </a:p>
          <a:p>
            <a:pPr marL="355600" marR="2986405" indent="-342900">
              <a:lnSpc>
                <a:spcPct val="100000"/>
              </a:lnSpc>
              <a:spcBef>
                <a:spcPts val="384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document has header &amp; item </a:t>
            </a:r>
            <a:r>
              <a:rPr sz="1600" b="1" spc="-10" dirty="0">
                <a:latin typeface="Arial"/>
                <a:cs typeface="Arial"/>
              </a:rPr>
              <a:t>level  </a:t>
            </a:r>
            <a:r>
              <a:rPr sz="1600" b="1" spc="-5" dirty="0">
                <a:latin typeface="Arial"/>
                <a:cs typeface="Arial"/>
              </a:rPr>
              <a:t>data. The schedule line data of the sales order  forms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art of item </a:t>
            </a:r>
            <a:r>
              <a:rPr sz="1600" b="1" spc="-10" dirty="0">
                <a:latin typeface="Arial"/>
                <a:cs typeface="Arial"/>
              </a:rPr>
              <a:t>level</a:t>
            </a:r>
            <a:r>
              <a:rPr sz="1600" b="1" spc="9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ata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205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2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b="1" spc="-10" dirty="0">
                <a:latin typeface="Arial"/>
                <a:cs typeface="Arial"/>
              </a:rPr>
              <a:t>The delivery </a:t>
            </a:r>
            <a:r>
              <a:rPr sz="1600" b="1" spc="-5" dirty="0">
                <a:latin typeface="Arial"/>
                <a:cs typeface="Arial"/>
              </a:rPr>
              <a:t>document control, supports and monitors all sub-process of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spc="-5" dirty="0">
                <a:latin typeface="Arial"/>
                <a:cs typeface="Arial"/>
              </a:rPr>
              <a:t>shipping processes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like,</a:t>
            </a:r>
            <a:endParaRPr sz="16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30"/>
              </a:spcBef>
              <a:buFont typeface="Arial"/>
              <a:buChar char="-"/>
              <a:tabLst>
                <a:tab pos="756285" algn="l"/>
                <a:tab pos="756920" algn="l"/>
              </a:tabLst>
            </a:pPr>
            <a:r>
              <a:rPr sz="1400" b="1" dirty="0">
                <a:latin typeface="Arial"/>
                <a:cs typeface="Arial"/>
              </a:rPr>
              <a:t>Picking</a:t>
            </a:r>
            <a:r>
              <a:rPr sz="1400" b="1" spc="-12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(optional)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35"/>
              </a:spcBef>
              <a:buFont typeface="Arial"/>
              <a:buChar char="-"/>
              <a:tabLst>
                <a:tab pos="756285" algn="l"/>
                <a:tab pos="756920" algn="l"/>
              </a:tabLst>
            </a:pPr>
            <a:r>
              <a:rPr sz="1400" b="1" dirty="0">
                <a:latin typeface="Arial"/>
                <a:cs typeface="Arial"/>
              </a:rPr>
              <a:t>Packing</a:t>
            </a:r>
            <a:r>
              <a:rPr sz="1400" b="1" spc="-10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(optional)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35"/>
              </a:spcBef>
              <a:buFont typeface="Arial"/>
              <a:buChar char="-"/>
              <a:tabLst>
                <a:tab pos="756285" algn="l"/>
                <a:tab pos="756920" algn="l"/>
              </a:tabLst>
            </a:pPr>
            <a:r>
              <a:rPr sz="1400" b="1" spc="-5" dirty="0">
                <a:latin typeface="Arial"/>
                <a:cs typeface="Arial"/>
              </a:rPr>
              <a:t>Planning </a:t>
            </a:r>
            <a:r>
              <a:rPr sz="1400" b="1" dirty="0">
                <a:latin typeface="Arial"/>
                <a:cs typeface="Arial"/>
              </a:rPr>
              <a:t>&amp; </a:t>
            </a:r>
            <a:r>
              <a:rPr sz="1400" b="1" spc="-5" dirty="0">
                <a:latin typeface="Arial"/>
                <a:cs typeface="Arial"/>
              </a:rPr>
              <a:t>monitoring of transport</a:t>
            </a:r>
            <a:r>
              <a:rPr sz="1400" b="1" spc="28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(optional)</a:t>
            </a:r>
            <a:endParaRPr sz="14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35"/>
              </a:spcBef>
              <a:buFont typeface="Arial"/>
              <a:buChar char="-"/>
              <a:tabLst>
                <a:tab pos="756285" algn="l"/>
                <a:tab pos="756920" algn="l"/>
              </a:tabLst>
            </a:pPr>
            <a:r>
              <a:rPr sz="1400" b="1" spc="-5" dirty="0">
                <a:latin typeface="Arial"/>
                <a:cs typeface="Arial"/>
              </a:rPr>
              <a:t>Posting good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issue</a:t>
            </a:r>
            <a:endParaRPr sz="1400">
              <a:latin typeface="Arial"/>
              <a:cs typeface="Arial"/>
            </a:endParaRPr>
          </a:p>
          <a:p>
            <a:pPr marL="355600" marR="560070" indent="-342900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b="1" spc="-5" dirty="0">
                <a:latin typeface="Arial"/>
                <a:cs typeface="Arial"/>
              </a:rPr>
              <a:t>Posting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issue changes quantity as </a:t>
            </a:r>
            <a:r>
              <a:rPr sz="1600" b="1" spc="5" dirty="0">
                <a:latin typeface="Arial"/>
                <a:cs typeface="Arial"/>
              </a:rPr>
              <a:t>well </a:t>
            </a:r>
            <a:r>
              <a:rPr sz="1600" b="1" spc="-5" dirty="0">
                <a:latin typeface="Arial"/>
                <a:cs typeface="Arial"/>
              </a:rPr>
              <a:t>as </a:t>
            </a:r>
            <a:r>
              <a:rPr sz="1600" b="1" spc="-10" dirty="0">
                <a:latin typeface="Arial"/>
                <a:cs typeface="Arial"/>
              </a:rPr>
              <a:t>value </a:t>
            </a:r>
            <a:r>
              <a:rPr sz="1600" b="1" spc="-5" dirty="0">
                <a:latin typeface="Arial"/>
                <a:cs typeface="Arial"/>
              </a:rPr>
              <a:t>of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tock (for  </a:t>
            </a:r>
            <a:r>
              <a:rPr sz="1600" b="1" spc="-10" dirty="0">
                <a:latin typeface="Arial"/>
                <a:cs typeface="Arial"/>
              </a:rPr>
              <a:t>valuated </a:t>
            </a:r>
            <a:r>
              <a:rPr sz="1600" b="1" spc="-5" dirty="0">
                <a:latin typeface="Arial"/>
                <a:cs typeface="Arial"/>
              </a:rPr>
              <a:t>materials) and is reflected in </a:t>
            </a:r>
            <a:r>
              <a:rPr sz="1600" b="1" spc="-10" dirty="0">
                <a:latin typeface="Arial"/>
                <a:cs typeface="Arial"/>
              </a:rPr>
              <a:t>relevant</a:t>
            </a:r>
            <a:r>
              <a:rPr sz="1600" b="1" spc="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ccoun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477000" y="2133600"/>
            <a:ext cx="1638300" cy="1398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781800" y="1219200"/>
            <a:ext cx="1047750" cy="10001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638800" y="1752600"/>
            <a:ext cx="762000" cy="1270000"/>
          </a:xfrm>
          <a:custGeom>
            <a:avLst/>
            <a:gdLst/>
            <a:ahLst/>
            <a:cxnLst/>
            <a:rect l="l" t="t" r="r" b="b"/>
            <a:pathLst>
              <a:path w="762000" h="1270000">
                <a:moveTo>
                  <a:pt x="0" y="453389"/>
                </a:moveTo>
                <a:lnTo>
                  <a:pt x="2683" y="491516"/>
                </a:lnTo>
                <a:lnTo>
                  <a:pt x="10614" y="528934"/>
                </a:lnTo>
                <a:lnTo>
                  <a:pt x="23607" y="565489"/>
                </a:lnTo>
                <a:lnTo>
                  <a:pt x="41482" y="601027"/>
                </a:lnTo>
                <a:lnTo>
                  <a:pt x="64055" y="635395"/>
                </a:lnTo>
                <a:lnTo>
                  <a:pt x="91143" y="668438"/>
                </a:lnTo>
                <a:lnTo>
                  <a:pt x="122564" y="700004"/>
                </a:lnTo>
                <a:lnTo>
                  <a:pt x="158135" y="729937"/>
                </a:lnTo>
                <a:lnTo>
                  <a:pt x="197674" y="758086"/>
                </a:lnTo>
                <a:lnTo>
                  <a:pt x="240998" y="784295"/>
                </a:lnTo>
                <a:lnTo>
                  <a:pt x="287925" y="808411"/>
                </a:lnTo>
                <a:lnTo>
                  <a:pt x="338271" y="830281"/>
                </a:lnTo>
                <a:lnTo>
                  <a:pt x="391853" y="849750"/>
                </a:lnTo>
                <a:lnTo>
                  <a:pt x="448491" y="866665"/>
                </a:lnTo>
                <a:lnTo>
                  <a:pt x="508000" y="880872"/>
                </a:lnTo>
                <a:lnTo>
                  <a:pt x="508000" y="751332"/>
                </a:lnTo>
                <a:lnTo>
                  <a:pt x="762000" y="1036320"/>
                </a:lnTo>
                <a:lnTo>
                  <a:pt x="508000" y="1269491"/>
                </a:lnTo>
                <a:lnTo>
                  <a:pt x="508000" y="1139952"/>
                </a:lnTo>
                <a:lnTo>
                  <a:pt x="448491" y="1125745"/>
                </a:lnTo>
                <a:lnTo>
                  <a:pt x="391853" y="1108830"/>
                </a:lnTo>
                <a:lnTo>
                  <a:pt x="338271" y="1089361"/>
                </a:lnTo>
                <a:lnTo>
                  <a:pt x="287925" y="1067491"/>
                </a:lnTo>
                <a:lnTo>
                  <a:pt x="240998" y="1043375"/>
                </a:lnTo>
                <a:lnTo>
                  <a:pt x="197674" y="1017166"/>
                </a:lnTo>
                <a:lnTo>
                  <a:pt x="158135" y="989017"/>
                </a:lnTo>
                <a:lnTo>
                  <a:pt x="122564" y="959084"/>
                </a:lnTo>
                <a:lnTo>
                  <a:pt x="91143" y="927518"/>
                </a:lnTo>
                <a:lnTo>
                  <a:pt x="64055" y="894475"/>
                </a:lnTo>
                <a:lnTo>
                  <a:pt x="41482" y="860107"/>
                </a:lnTo>
                <a:lnTo>
                  <a:pt x="23607" y="824569"/>
                </a:lnTo>
                <a:lnTo>
                  <a:pt x="10614" y="788014"/>
                </a:lnTo>
                <a:lnTo>
                  <a:pt x="2683" y="750596"/>
                </a:lnTo>
                <a:lnTo>
                  <a:pt x="0" y="712470"/>
                </a:lnTo>
                <a:lnTo>
                  <a:pt x="0" y="453389"/>
                </a:lnTo>
                <a:lnTo>
                  <a:pt x="2292" y="417952"/>
                </a:lnTo>
                <a:lnTo>
                  <a:pt x="9056" y="383261"/>
                </a:lnTo>
                <a:lnTo>
                  <a:pt x="35322" y="316523"/>
                </a:lnTo>
                <a:lnTo>
                  <a:pt x="77444" y="253981"/>
                </a:lnTo>
                <a:lnTo>
                  <a:pt x="104027" y="224536"/>
                </a:lnTo>
                <a:lnTo>
                  <a:pt x="134065" y="196441"/>
                </a:lnTo>
                <a:lnTo>
                  <a:pt x="167391" y="169799"/>
                </a:lnTo>
                <a:lnTo>
                  <a:pt x="203833" y="144709"/>
                </a:lnTo>
                <a:lnTo>
                  <a:pt x="243223" y="121273"/>
                </a:lnTo>
                <a:lnTo>
                  <a:pt x="285392" y="99590"/>
                </a:lnTo>
                <a:lnTo>
                  <a:pt x="330170" y="79763"/>
                </a:lnTo>
                <a:lnTo>
                  <a:pt x="377387" y="61891"/>
                </a:lnTo>
                <a:lnTo>
                  <a:pt x="426875" y="46075"/>
                </a:lnTo>
                <a:lnTo>
                  <a:pt x="478464" y="32416"/>
                </a:lnTo>
                <a:lnTo>
                  <a:pt x="531985" y="21015"/>
                </a:lnTo>
                <a:lnTo>
                  <a:pt x="587268" y="11972"/>
                </a:lnTo>
                <a:lnTo>
                  <a:pt x="644145" y="5388"/>
                </a:lnTo>
                <a:lnTo>
                  <a:pt x="702445" y="1363"/>
                </a:lnTo>
                <a:lnTo>
                  <a:pt x="762000" y="0"/>
                </a:lnTo>
                <a:lnTo>
                  <a:pt x="762000" y="259079"/>
                </a:lnTo>
                <a:lnTo>
                  <a:pt x="702988" y="260432"/>
                </a:lnTo>
                <a:lnTo>
                  <a:pt x="645001" y="264432"/>
                </a:lnTo>
                <a:lnTo>
                  <a:pt x="588234" y="270992"/>
                </a:lnTo>
                <a:lnTo>
                  <a:pt x="532885" y="280025"/>
                </a:lnTo>
                <a:lnTo>
                  <a:pt x="479150" y="291445"/>
                </a:lnTo>
                <a:lnTo>
                  <a:pt x="427226" y="305163"/>
                </a:lnTo>
                <a:lnTo>
                  <a:pt x="377308" y="321094"/>
                </a:lnTo>
                <a:lnTo>
                  <a:pt x="329594" y="339150"/>
                </a:lnTo>
                <a:lnTo>
                  <a:pt x="284280" y="359244"/>
                </a:lnTo>
                <a:lnTo>
                  <a:pt x="241563" y="381290"/>
                </a:lnTo>
                <a:lnTo>
                  <a:pt x="201638" y="405199"/>
                </a:lnTo>
                <a:lnTo>
                  <a:pt x="164703" y="430885"/>
                </a:lnTo>
                <a:lnTo>
                  <a:pt x="130955" y="458262"/>
                </a:lnTo>
                <a:lnTo>
                  <a:pt x="100588" y="487242"/>
                </a:lnTo>
                <a:lnTo>
                  <a:pt x="73801" y="517738"/>
                </a:lnTo>
                <a:lnTo>
                  <a:pt x="50789" y="549663"/>
                </a:lnTo>
                <a:lnTo>
                  <a:pt x="31750" y="5829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077200" y="1676400"/>
            <a:ext cx="838200" cy="1195070"/>
          </a:xfrm>
          <a:custGeom>
            <a:avLst/>
            <a:gdLst/>
            <a:ahLst/>
            <a:cxnLst/>
            <a:rect l="l" t="t" r="r" b="b"/>
            <a:pathLst>
              <a:path w="838200" h="1195070">
                <a:moveTo>
                  <a:pt x="838200" y="670560"/>
                </a:moveTo>
                <a:lnTo>
                  <a:pt x="829111" y="607493"/>
                </a:lnTo>
                <a:lnTo>
                  <a:pt x="802710" y="547302"/>
                </a:lnTo>
                <a:lnTo>
                  <a:pt x="760293" y="490647"/>
                </a:lnTo>
                <a:lnTo>
                  <a:pt x="703158" y="438188"/>
                </a:lnTo>
                <a:lnTo>
                  <a:pt x="669476" y="413737"/>
                </a:lnTo>
                <a:lnTo>
                  <a:pt x="632600" y="390583"/>
                </a:lnTo>
                <a:lnTo>
                  <a:pt x="592693" y="368808"/>
                </a:lnTo>
                <a:lnTo>
                  <a:pt x="549916" y="348493"/>
                </a:lnTo>
                <a:lnTo>
                  <a:pt x="504433" y="329722"/>
                </a:lnTo>
                <a:lnTo>
                  <a:pt x="456404" y="312576"/>
                </a:lnTo>
                <a:lnTo>
                  <a:pt x="405992" y="297139"/>
                </a:lnTo>
                <a:lnTo>
                  <a:pt x="353359" y="283493"/>
                </a:lnTo>
                <a:lnTo>
                  <a:pt x="298667" y="271720"/>
                </a:lnTo>
                <a:lnTo>
                  <a:pt x="242079" y="261903"/>
                </a:lnTo>
                <a:lnTo>
                  <a:pt x="183756" y="254124"/>
                </a:lnTo>
                <a:lnTo>
                  <a:pt x="123860" y="248465"/>
                </a:lnTo>
                <a:lnTo>
                  <a:pt x="62554" y="245010"/>
                </a:lnTo>
                <a:lnTo>
                  <a:pt x="0" y="243839"/>
                </a:lnTo>
                <a:lnTo>
                  <a:pt x="0" y="0"/>
                </a:lnTo>
                <a:lnTo>
                  <a:pt x="62554" y="1170"/>
                </a:lnTo>
                <a:lnTo>
                  <a:pt x="123860" y="4625"/>
                </a:lnTo>
                <a:lnTo>
                  <a:pt x="183756" y="10284"/>
                </a:lnTo>
                <a:lnTo>
                  <a:pt x="242079" y="18063"/>
                </a:lnTo>
                <a:lnTo>
                  <a:pt x="298667" y="27880"/>
                </a:lnTo>
                <a:lnTo>
                  <a:pt x="353359" y="39653"/>
                </a:lnTo>
                <a:lnTo>
                  <a:pt x="405992" y="53299"/>
                </a:lnTo>
                <a:lnTo>
                  <a:pt x="456404" y="68736"/>
                </a:lnTo>
                <a:lnTo>
                  <a:pt x="504433" y="85882"/>
                </a:lnTo>
                <a:lnTo>
                  <a:pt x="549916" y="104653"/>
                </a:lnTo>
                <a:lnTo>
                  <a:pt x="592693" y="124967"/>
                </a:lnTo>
                <a:lnTo>
                  <a:pt x="632600" y="146743"/>
                </a:lnTo>
                <a:lnTo>
                  <a:pt x="669476" y="169897"/>
                </a:lnTo>
                <a:lnTo>
                  <a:pt x="703158" y="194348"/>
                </a:lnTo>
                <a:lnTo>
                  <a:pt x="733484" y="220012"/>
                </a:lnTo>
                <a:lnTo>
                  <a:pt x="783423" y="274652"/>
                </a:lnTo>
                <a:lnTo>
                  <a:pt x="817994" y="333157"/>
                </a:lnTo>
                <a:lnTo>
                  <a:pt x="835900" y="394868"/>
                </a:lnTo>
                <a:lnTo>
                  <a:pt x="838200" y="426720"/>
                </a:lnTo>
                <a:lnTo>
                  <a:pt x="838200" y="670560"/>
                </a:lnTo>
                <a:lnTo>
                  <a:pt x="835603" y="704218"/>
                </a:lnTo>
                <a:lnTo>
                  <a:pt x="827925" y="737296"/>
                </a:lnTo>
                <a:lnTo>
                  <a:pt x="797982" y="801237"/>
                </a:lnTo>
                <a:lnTo>
                  <a:pt x="749695" y="861429"/>
                </a:lnTo>
                <a:lnTo>
                  <a:pt x="719086" y="889823"/>
                </a:lnTo>
                <a:lnTo>
                  <a:pt x="684387" y="916924"/>
                </a:lnTo>
                <a:lnTo>
                  <a:pt x="645763" y="942612"/>
                </a:lnTo>
                <a:lnTo>
                  <a:pt x="603380" y="966768"/>
                </a:lnTo>
                <a:lnTo>
                  <a:pt x="557403" y="989275"/>
                </a:lnTo>
                <a:lnTo>
                  <a:pt x="507998" y="1010013"/>
                </a:lnTo>
                <a:lnTo>
                  <a:pt x="455329" y="1028862"/>
                </a:lnTo>
                <a:lnTo>
                  <a:pt x="399563" y="1045705"/>
                </a:lnTo>
                <a:lnTo>
                  <a:pt x="340865" y="1060423"/>
                </a:lnTo>
                <a:lnTo>
                  <a:pt x="279400" y="1072896"/>
                </a:lnTo>
                <a:lnTo>
                  <a:pt x="279400" y="1194815"/>
                </a:lnTo>
                <a:lnTo>
                  <a:pt x="0" y="975360"/>
                </a:lnTo>
                <a:lnTo>
                  <a:pt x="279400" y="707136"/>
                </a:lnTo>
                <a:lnTo>
                  <a:pt x="279400" y="829055"/>
                </a:lnTo>
                <a:lnTo>
                  <a:pt x="341309" y="816483"/>
                </a:lnTo>
                <a:lnTo>
                  <a:pt x="400596" y="801572"/>
                </a:lnTo>
                <a:lnTo>
                  <a:pt x="457053" y="784437"/>
                </a:lnTo>
                <a:lnTo>
                  <a:pt x="510469" y="765189"/>
                </a:lnTo>
                <a:lnTo>
                  <a:pt x="560636" y="743940"/>
                </a:lnTo>
                <a:lnTo>
                  <a:pt x="607345" y="720804"/>
                </a:lnTo>
                <a:lnTo>
                  <a:pt x="650387" y="695892"/>
                </a:lnTo>
                <a:lnTo>
                  <a:pt x="689553" y="669318"/>
                </a:lnTo>
                <a:lnTo>
                  <a:pt x="724634" y="641193"/>
                </a:lnTo>
                <a:lnTo>
                  <a:pt x="755420" y="611630"/>
                </a:lnTo>
                <a:lnTo>
                  <a:pt x="781703" y="580741"/>
                </a:lnTo>
                <a:lnTo>
                  <a:pt x="803275" y="54863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76299" y="1296351"/>
            <a:ext cx="7315200" cy="2590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473952" y="260604"/>
            <a:ext cx="886968" cy="8976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60" dirty="0"/>
              <a:t> </a:t>
            </a:r>
            <a:r>
              <a:rPr dirty="0"/>
              <a:t>Delivery</a:t>
            </a:r>
          </a:p>
        </p:txBody>
      </p:sp>
      <p:sp>
        <p:nvSpPr>
          <p:cNvPr id="10" name="object 10"/>
          <p:cNvSpPr/>
          <p:nvPr/>
        </p:nvSpPr>
        <p:spPr>
          <a:xfrm>
            <a:off x="3883405" y="1346327"/>
            <a:ext cx="765175" cy="191770"/>
          </a:xfrm>
          <a:custGeom>
            <a:avLst/>
            <a:gdLst/>
            <a:ahLst/>
            <a:cxnLst/>
            <a:rect l="l" t="t" r="r" b="b"/>
            <a:pathLst>
              <a:path w="765175" h="191769">
                <a:moveTo>
                  <a:pt x="677934" y="28066"/>
                </a:moveTo>
                <a:lnTo>
                  <a:pt x="0" y="163702"/>
                </a:lnTo>
                <a:lnTo>
                  <a:pt x="5588" y="191643"/>
                </a:lnTo>
                <a:lnTo>
                  <a:pt x="683529" y="56129"/>
                </a:lnTo>
                <a:lnTo>
                  <a:pt x="677934" y="28066"/>
                </a:lnTo>
                <a:close/>
              </a:path>
              <a:path w="765175" h="191769">
                <a:moveTo>
                  <a:pt x="764794" y="25273"/>
                </a:moveTo>
                <a:lnTo>
                  <a:pt x="691896" y="25273"/>
                </a:lnTo>
                <a:lnTo>
                  <a:pt x="697484" y="53339"/>
                </a:lnTo>
                <a:lnTo>
                  <a:pt x="683529" y="56129"/>
                </a:lnTo>
                <a:lnTo>
                  <a:pt x="689102" y="84074"/>
                </a:lnTo>
                <a:lnTo>
                  <a:pt x="764794" y="25273"/>
                </a:lnTo>
                <a:close/>
              </a:path>
              <a:path w="765175" h="191769">
                <a:moveTo>
                  <a:pt x="691896" y="25273"/>
                </a:moveTo>
                <a:lnTo>
                  <a:pt x="677934" y="28066"/>
                </a:lnTo>
                <a:lnTo>
                  <a:pt x="683529" y="56129"/>
                </a:lnTo>
                <a:lnTo>
                  <a:pt x="697484" y="53339"/>
                </a:lnTo>
                <a:lnTo>
                  <a:pt x="691896" y="25273"/>
                </a:lnTo>
                <a:close/>
              </a:path>
              <a:path w="765175" h="191769">
                <a:moveTo>
                  <a:pt x="672338" y="0"/>
                </a:moveTo>
                <a:lnTo>
                  <a:pt x="677934" y="28066"/>
                </a:lnTo>
                <a:lnTo>
                  <a:pt x="691896" y="25273"/>
                </a:lnTo>
                <a:lnTo>
                  <a:pt x="764794" y="25273"/>
                </a:lnTo>
                <a:lnTo>
                  <a:pt x="672338" y="0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648200" y="1143000"/>
            <a:ext cx="1600200" cy="457200"/>
          </a:xfrm>
          <a:custGeom>
            <a:avLst/>
            <a:gdLst/>
            <a:ahLst/>
            <a:cxnLst/>
            <a:rect l="l" t="t" r="r" b="b"/>
            <a:pathLst>
              <a:path w="1600200" h="457200">
                <a:moveTo>
                  <a:pt x="0" y="457200"/>
                </a:moveTo>
                <a:lnTo>
                  <a:pt x="1600200" y="457200"/>
                </a:lnTo>
                <a:lnTo>
                  <a:pt x="16002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28575">
            <a:solidFill>
              <a:srgbClr val="FF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760214" y="1243329"/>
            <a:ext cx="1425575" cy="2559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Post Goods</a:t>
            </a:r>
            <a:r>
              <a:rPr sz="1600" spc="-55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Issue</a:t>
            </a:r>
            <a:endParaRPr sz="1600" dirty="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876298" y="3962400"/>
            <a:ext cx="5219701" cy="2286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328028" y="5211191"/>
            <a:ext cx="2559685" cy="835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spc="-5" dirty="0">
                <a:latin typeface="Times New Roman"/>
                <a:cs typeface="Times New Roman"/>
              </a:rPr>
              <a:t>VL01N </a:t>
            </a:r>
            <a:r>
              <a:rPr sz="1800" b="1" dirty="0">
                <a:latin typeface="Times New Roman"/>
                <a:cs typeface="Times New Roman"/>
              </a:rPr>
              <a:t>– </a:t>
            </a:r>
            <a:r>
              <a:rPr sz="1800" b="1" spc="-10" dirty="0">
                <a:latin typeface="Times New Roman"/>
                <a:cs typeface="Times New Roman"/>
              </a:rPr>
              <a:t>Create </a:t>
            </a:r>
            <a:r>
              <a:rPr sz="1800" b="1" dirty="0">
                <a:latin typeface="Times New Roman"/>
                <a:cs typeface="Times New Roman"/>
              </a:rPr>
              <a:t>delivery  </a:t>
            </a:r>
            <a:r>
              <a:rPr sz="1800" b="1" spc="-5" dirty="0">
                <a:latin typeface="Times New Roman"/>
                <a:cs typeface="Times New Roman"/>
              </a:rPr>
              <a:t>VL02N </a:t>
            </a:r>
            <a:r>
              <a:rPr sz="1800" b="1" dirty="0">
                <a:latin typeface="Times New Roman"/>
                <a:cs typeface="Times New Roman"/>
              </a:rPr>
              <a:t>– </a:t>
            </a:r>
            <a:r>
              <a:rPr sz="1800" b="1" spc="-5" dirty="0">
                <a:latin typeface="Times New Roman"/>
                <a:cs typeface="Times New Roman"/>
              </a:rPr>
              <a:t>Change</a:t>
            </a:r>
            <a:r>
              <a:rPr sz="1800" b="1" spc="-5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delivery  </a:t>
            </a:r>
            <a:r>
              <a:rPr sz="1800" b="1" spc="-5" dirty="0">
                <a:latin typeface="Times New Roman"/>
                <a:cs typeface="Times New Roman"/>
              </a:rPr>
              <a:t>VL03N </a:t>
            </a:r>
            <a:r>
              <a:rPr sz="1800" b="1" dirty="0">
                <a:latin typeface="Times New Roman"/>
                <a:cs typeface="Times New Roman"/>
              </a:rPr>
              <a:t>– </a:t>
            </a:r>
            <a:r>
              <a:rPr sz="1800" b="1" spc="-5" dirty="0">
                <a:latin typeface="Times New Roman"/>
                <a:cs typeface="Times New Roman"/>
              </a:rPr>
              <a:t>Display</a:t>
            </a:r>
            <a:r>
              <a:rPr sz="1800" b="1" spc="-60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delivery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324600" y="4114800"/>
            <a:ext cx="2286000" cy="7810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310248" y="4100448"/>
            <a:ext cx="2314575" cy="809625"/>
          </a:xfrm>
          <a:custGeom>
            <a:avLst/>
            <a:gdLst/>
            <a:ahLst/>
            <a:cxnLst/>
            <a:rect l="l" t="t" r="r" b="b"/>
            <a:pathLst>
              <a:path w="2314575" h="809625">
                <a:moveTo>
                  <a:pt x="0" y="809625"/>
                </a:moveTo>
                <a:lnTo>
                  <a:pt x="2314575" y="809625"/>
                </a:lnTo>
                <a:lnTo>
                  <a:pt x="2314575" y="0"/>
                </a:lnTo>
                <a:lnTo>
                  <a:pt x="0" y="0"/>
                </a:lnTo>
                <a:lnTo>
                  <a:pt x="0" y="8096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Purpose</a:t>
            </a:r>
          </a:p>
        </p:txBody>
      </p:sp>
      <p:sp>
        <p:nvSpPr>
          <p:cNvPr id="5" name="object 5"/>
          <p:cNvSpPr/>
          <p:nvPr/>
        </p:nvSpPr>
        <p:spPr>
          <a:xfrm>
            <a:off x="1543811" y="4895088"/>
            <a:ext cx="377951" cy="3825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720953" y="1234694"/>
            <a:ext cx="215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Arial"/>
                <a:cs typeface="Arial"/>
              </a:rPr>
              <a:t>1.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330578" y="1289558"/>
            <a:ext cx="6677659" cy="4495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000"/>
              </a:lnSpc>
            </a:pP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primary </a:t>
            </a:r>
            <a:r>
              <a:rPr sz="1800" b="1" dirty="0">
                <a:latin typeface="Arial"/>
                <a:cs typeface="Arial"/>
              </a:rPr>
              <a:t>responsibility of the </a:t>
            </a:r>
            <a:r>
              <a:rPr sz="1800" b="1" spc="-5" dirty="0">
                <a:latin typeface="Arial"/>
                <a:cs typeface="Arial"/>
              </a:rPr>
              <a:t>Sales department </a:t>
            </a:r>
            <a:r>
              <a:rPr sz="1800" b="1" dirty="0">
                <a:latin typeface="Arial"/>
                <a:cs typeface="Arial"/>
              </a:rPr>
              <a:t>is to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book  </a:t>
            </a:r>
            <a:r>
              <a:rPr sz="1800" b="1" spc="-5" dirty="0">
                <a:latin typeface="Arial"/>
                <a:cs typeface="Arial"/>
              </a:rPr>
              <a:t>orders &amp; generate </a:t>
            </a:r>
            <a:r>
              <a:rPr sz="1800" b="1" spc="-10" dirty="0">
                <a:latin typeface="Arial"/>
                <a:cs typeface="Arial"/>
              </a:rPr>
              <a:t>revenue </a:t>
            </a:r>
            <a:r>
              <a:rPr sz="1800" b="1" spc="-5" dirty="0">
                <a:latin typeface="Arial"/>
                <a:cs typeface="Arial"/>
              </a:rPr>
              <a:t>for </a:t>
            </a:r>
            <a:r>
              <a:rPr sz="1800" b="1" dirty="0">
                <a:latin typeface="Arial"/>
                <a:cs typeface="Arial"/>
              </a:rPr>
              <a:t>the</a:t>
            </a:r>
            <a:r>
              <a:rPr sz="1800" b="1" spc="4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rganization.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20953" y="1728470"/>
            <a:ext cx="215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Arial"/>
                <a:cs typeface="Arial"/>
              </a:rPr>
              <a:t>2.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30578" y="1728470"/>
            <a:ext cx="7219950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641985" algn="l"/>
                <a:tab pos="2044064" algn="l"/>
                <a:tab pos="2470785" algn="l"/>
                <a:tab pos="2820035" algn="l"/>
                <a:tab pos="3639820" algn="l"/>
                <a:tab pos="5133340" algn="l"/>
                <a:tab pos="6179185" algn="l"/>
                <a:tab pos="6863715" algn="l"/>
              </a:tabLst>
            </a:pPr>
            <a:r>
              <a:rPr sz="1800" b="1" spc="-5" dirty="0">
                <a:latin typeface="Arial"/>
                <a:cs typeface="Arial"/>
              </a:rPr>
              <a:t>The	e</a:t>
            </a:r>
            <a:r>
              <a:rPr sz="1800" b="1" spc="-15" dirty="0">
                <a:latin typeface="Arial"/>
                <a:cs typeface="Arial"/>
              </a:rPr>
              <a:t>m</a:t>
            </a:r>
            <a:r>
              <a:rPr sz="1800" b="1" dirty="0">
                <a:latin typeface="Arial"/>
                <a:cs typeface="Arial"/>
              </a:rPr>
              <a:t>p</a:t>
            </a:r>
            <a:r>
              <a:rPr sz="1800" b="1" spc="5" dirty="0">
                <a:latin typeface="Arial"/>
                <a:cs typeface="Arial"/>
              </a:rPr>
              <a:t>l</a:t>
            </a:r>
            <a:r>
              <a:rPr sz="1800" b="1" spc="-5" dirty="0">
                <a:latin typeface="Arial"/>
                <a:cs typeface="Arial"/>
              </a:rPr>
              <a:t>o</a:t>
            </a:r>
            <a:r>
              <a:rPr sz="1800" b="1" spc="-20" dirty="0">
                <a:latin typeface="Arial"/>
                <a:cs typeface="Arial"/>
              </a:rPr>
              <a:t>y</a:t>
            </a:r>
            <a:r>
              <a:rPr sz="1800" b="1" dirty="0">
                <a:latin typeface="Arial"/>
                <a:cs typeface="Arial"/>
              </a:rPr>
              <a:t>e</a:t>
            </a:r>
            <a:r>
              <a:rPr sz="1800" b="1" spc="-5" dirty="0">
                <a:latin typeface="Arial"/>
                <a:cs typeface="Arial"/>
              </a:rPr>
              <a:t>es</a:t>
            </a:r>
            <a:r>
              <a:rPr sz="1800" b="1" dirty="0">
                <a:latin typeface="Arial"/>
                <a:cs typeface="Arial"/>
              </a:rPr>
              <a:t>	in	</a:t>
            </a:r>
            <a:r>
              <a:rPr sz="1800" b="1" spc="-5" dirty="0">
                <a:latin typeface="Arial"/>
                <a:cs typeface="Arial"/>
              </a:rPr>
              <a:t>a</a:t>
            </a:r>
            <a:r>
              <a:rPr sz="1800" b="1" dirty="0">
                <a:latin typeface="Arial"/>
                <a:cs typeface="Arial"/>
              </a:rPr>
              <a:t>	</a:t>
            </a:r>
            <a:r>
              <a:rPr sz="1800" b="1" spc="-5" dirty="0">
                <a:latin typeface="Arial"/>
                <a:cs typeface="Arial"/>
              </a:rPr>
              <a:t>S</a:t>
            </a:r>
            <a:r>
              <a:rPr sz="1800" b="1" dirty="0">
                <a:latin typeface="Arial"/>
                <a:cs typeface="Arial"/>
              </a:rPr>
              <a:t>a</a:t>
            </a:r>
            <a:r>
              <a:rPr sz="1800" b="1" spc="-5" dirty="0">
                <a:latin typeface="Arial"/>
                <a:cs typeface="Arial"/>
              </a:rPr>
              <a:t>les</a:t>
            </a:r>
            <a:r>
              <a:rPr sz="1800" b="1" dirty="0">
                <a:latin typeface="Arial"/>
                <a:cs typeface="Arial"/>
              </a:rPr>
              <a:t>	</a:t>
            </a:r>
            <a:r>
              <a:rPr sz="1800" b="1" spc="-5" dirty="0">
                <a:latin typeface="Arial"/>
                <a:cs typeface="Arial"/>
              </a:rPr>
              <a:t>D</a:t>
            </a:r>
            <a:r>
              <a:rPr sz="1800" b="1" spc="-15" dirty="0">
                <a:latin typeface="Arial"/>
                <a:cs typeface="Arial"/>
              </a:rPr>
              <a:t>e</a:t>
            </a:r>
            <a:r>
              <a:rPr sz="1800" b="1" spc="-5" dirty="0">
                <a:latin typeface="Arial"/>
                <a:cs typeface="Arial"/>
              </a:rPr>
              <a:t>par</a:t>
            </a:r>
            <a:r>
              <a:rPr sz="1800" b="1" dirty="0">
                <a:latin typeface="Arial"/>
                <a:cs typeface="Arial"/>
              </a:rPr>
              <a:t>tment	i</a:t>
            </a:r>
            <a:r>
              <a:rPr sz="1800" b="1" spc="5" dirty="0">
                <a:latin typeface="Arial"/>
                <a:cs typeface="Arial"/>
              </a:rPr>
              <a:t>n</a:t>
            </a:r>
            <a:r>
              <a:rPr sz="1800" b="1" spc="-5" dirty="0">
                <a:latin typeface="Arial"/>
                <a:cs typeface="Arial"/>
              </a:rPr>
              <a:t>te</a:t>
            </a:r>
            <a:r>
              <a:rPr sz="1800" b="1" spc="-15" dirty="0">
                <a:latin typeface="Arial"/>
                <a:cs typeface="Arial"/>
              </a:rPr>
              <a:t>r</a:t>
            </a:r>
            <a:r>
              <a:rPr sz="1800" b="1" spc="-5" dirty="0">
                <a:latin typeface="Arial"/>
                <a:cs typeface="Arial"/>
              </a:rPr>
              <a:t>a</a:t>
            </a:r>
            <a:r>
              <a:rPr sz="1800" b="1" spc="-15" dirty="0">
                <a:latin typeface="Arial"/>
                <a:cs typeface="Arial"/>
              </a:rPr>
              <a:t>c</a:t>
            </a:r>
            <a:r>
              <a:rPr sz="1800" b="1" dirty="0">
                <a:latin typeface="Arial"/>
                <a:cs typeface="Arial"/>
              </a:rPr>
              <a:t>t	</a:t>
            </a:r>
            <a:r>
              <a:rPr sz="1800" b="1" spc="35" dirty="0">
                <a:latin typeface="Arial"/>
                <a:cs typeface="Arial"/>
              </a:rPr>
              <a:t>w</a:t>
            </a:r>
            <a:r>
              <a:rPr sz="1800" b="1" spc="-10" dirty="0">
                <a:latin typeface="Arial"/>
                <a:cs typeface="Arial"/>
              </a:rPr>
              <a:t>i</a:t>
            </a:r>
            <a:r>
              <a:rPr sz="1800" b="1" dirty="0">
                <a:latin typeface="Arial"/>
                <a:cs typeface="Arial"/>
              </a:rPr>
              <a:t>th	the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330578" y="1947926"/>
            <a:ext cx="7217409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Customers, </a:t>
            </a:r>
            <a:r>
              <a:rPr sz="1800" b="1" dirty="0">
                <a:latin typeface="Arial"/>
                <a:cs typeface="Arial"/>
              </a:rPr>
              <a:t>answer </a:t>
            </a:r>
            <a:r>
              <a:rPr sz="1800" b="1" spc="-10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their queries, provide them estimates, </a:t>
            </a:r>
            <a:r>
              <a:rPr sz="1800" b="1" spc="44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give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0953" y="3100451"/>
            <a:ext cx="215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Arial"/>
                <a:cs typeface="Arial"/>
              </a:rPr>
              <a:t>3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20953" y="3594227"/>
            <a:ext cx="215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Arial"/>
                <a:cs typeface="Arial"/>
              </a:rPr>
              <a:t>4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20953" y="4307713"/>
            <a:ext cx="215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Arial"/>
                <a:cs typeface="Arial"/>
              </a:rPr>
              <a:t>5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330578" y="2222627"/>
            <a:ext cx="7219950" cy="3028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985" algn="just">
              <a:lnSpc>
                <a:spcPct val="80000"/>
              </a:lnSpc>
            </a:pPr>
            <a:r>
              <a:rPr sz="1800" b="1" spc="-5" dirty="0">
                <a:latin typeface="Arial"/>
                <a:cs typeface="Arial"/>
              </a:rPr>
              <a:t>updates </a:t>
            </a:r>
            <a:r>
              <a:rPr sz="1800" b="1" dirty="0">
                <a:latin typeface="Arial"/>
                <a:cs typeface="Arial"/>
              </a:rPr>
              <a:t>on </a:t>
            </a:r>
            <a:r>
              <a:rPr sz="1800" b="1" spc="-5" dirty="0">
                <a:latin typeface="Arial"/>
                <a:cs typeface="Arial"/>
              </a:rPr>
              <a:t>availability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products, </a:t>
            </a:r>
            <a:r>
              <a:rPr sz="1800" b="1" spc="-10" dirty="0">
                <a:latin typeface="Arial"/>
                <a:cs typeface="Arial"/>
              </a:rPr>
              <a:t>based </a:t>
            </a:r>
            <a:r>
              <a:rPr sz="1800" b="1" dirty="0">
                <a:latin typeface="Arial"/>
                <a:cs typeface="Arial"/>
              </a:rPr>
              <a:t>on the </a:t>
            </a:r>
            <a:r>
              <a:rPr sz="1800" b="1" spc="-10" dirty="0">
                <a:latin typeface="Arial"/>
                <a:cs typeface="Arial"/>
              </a:rPr>
              <a:t>buying </a:t>
            </a:r>
            <a:r>
              <a:rPr sz="1800" b="1" spc="-5" dirty="0">
                <a:latin typeface="Arial"/>
                <a:cs typeface="Arial"/>
              </a:rPr>
              <a:t>pattern  </a:t>
            </a:r>
            <a:r>
              <a:rPr sz="1800" b="1" dirty="0">
                <a:latin typeface="Arial"/>
                <a:cs typeface="Arial"/>
              </a:rPr>
              <a:t>of the </a:t>
            </a:r>
            <a:r>
              <a:rPr sz="1800" b="1" spc="-5" dirty="0">
                <a:latin typeface="Arial"/>
                <a:cs typeface="Arial"/>
              </a:rPr>
              <a:t>customers </a:t>
            </a:r>
            <a:r>
              <a:rPr sz="1800" b="1" dirty="0">
                <a:latin typeface="Arial"/>
                <a:cs typeface="Arial"/>
              </a:rPr>
              <a:t>offer appropriate products and </a:t>
            </a:r>
            <a:r>
              <a:rPr sz="1800" b="1" spc="-5" dirty="0">
                <a:latin typeface="Arial"/>
                <a:cs typeface="Arial"/>
              </a:rPr>
              <a:t>perform order  </a:t>
            </a:r>
            <a:r>
              <a:rPr sz="1800" b="1" dirty="0">
                <a:latin typeface="Arial"/>
                <a:cs typeface="Arial"/>
              </a:rPr>
              <a:t>entry in the </a:t>
            </a:r>
            <a:r>
              <a:rPr sz="1800" b="1" spc="-5" dirty="0">
                <a:latin typeface="Arial"/>
                <a:cs typeface="Arial"/>
              </a:rPr>
              <a:t>system, </a:t>
            </a:r>
            <a:r>
              <a:rPr sz="1800" b="1" dirty="0">
                <a:latin typeface="Arial"/>
                <a:cs typeface="Arial"/>
              </a:rPr>
              <a:t>maintain </a:t>
            </a:r>
            <a:r>
              <a:rPr sz="1800" b="1" spc="-5" dirty="0">
                <a:latin typeface="Arial"/>
                <a:cs typeface="Arial"/>
              </a:rPr>
              <a:t>basic </a:t>
            </a:r>
            <a:r>
              <a:rPr sz="1800" b="1" dirty="0">
                <a:latin typeface="Arial"/>
                <a:cs typeface="Arial"/>
              </a:rPr>
              <a:t>information about the  </a:t>
            </a:r>
            <a:r>
              <a:rPr sz="1800" b="1" spc="-5" dirty="0">
                <a:latin typeface="Arial"/>
                <a:cs typeface="Arial"/>
              </a:rPr>
              <a:t>customers </a:t>
            </a:r>
            <a:r>
              <a:rPr sz="1800" b="1" dirty="0">
                <a:latin typeface="Arial"/>
                <a:cs typeface="Arial"/>
              </a:rPr>
              <a:t>and product </a:t>
            </a:r>
            <a:r>
              <a:rPr sz="1800" b="1" spc="-5" dirty="0">
                <a:latin typeface="Arial"/>
                <a:cs typeface="Arial"/>
              </a:rPr>
              <a:t>&amp; </a:t>
            </a:r>
            <a:r>
              <a:rPr sz="1800" b="1" spc="-10" dirty="0">
                <a:latin typeface="Arial"/>
                <a:cs typeface="Arial"/>
              </a:rPr>
              <a:t>services </a:t>
            </a:r>
            <a:r>
              <a:rPr sz="1800" b="1" dirty="0">
                <a:latin typeface="Arial"/>
                <a:cs typeface="Arial"/>
              </a:rPr>
              <a:t>that </a:t>
            </a:r>
            <a:r>
              <a:rPr sz="1800" b="1" spc="-5" dirty="0">
                <a:latin typeface="Arial"/>
                <a:cs typeface="Arial"/>
              </a:rPr>
              <a:t>they</a:t>
            </a:r>
            <a:r>
              <a:rPr sz="1800" b="1" spc="5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onsume.</a:t>
            </a:r>
            <a:endParaRPr sz="1800">
              <a:latin typeface="Arial"/>
              <a:cs typeface="Arial"/>
            </a:endParaRPr>
          </a:p>
          <a:p>
            <a:pPr marL="12700" marR="5080" algn="just">
              <a:lnSpc>
                <a:spcPct val="80000"/>
              </a:lnSpc>
              <a:spcBef>
                <a:spcPts val="430"/>
              </a:spcBef>
            </a:pP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people </a:t>
            </a:r>
            <a:r>
              <a:rPr sz="1800" b="1" spc="-5" dirty="0">
                <a:latin typeface="Arial"/>
                <a:cs typeface="Arial"/>
              </a:rPr>
              <a:t>need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10" dirty="0">
                <a:latin typeface="Arial"/>
                <a:cs typeface="Arial"/>
              </a:rPr>
              <a:t>have </a:t>
            </a:r>
            <a:r>
              <a:rPr sz="1800" b="1" dirty="0">
                <a:latin typeface="Arial"/>
                <a:cs typeface="Arial"/>
              </a:rPr>
              <a:t>knowledge </a:t>
            </a:r>
            <a:r>
              <a:rPr sz="1800" b="1" spc="-5" dirty="0">
                <a:latin typeface="Arial"/>
                <a:cs typeface="Arial"/>
              </a:rPr>
              <a:t>about taxation, </a:t>
            </a:r>
            <a:r>
              <a:rPr sz="1800" b="1" dirty="0">
                <a:latin typeface="Arial"/>
                <a:cs typeface="Arial"/>
              </a:rPr>
              <a:t>promotional  </a:t>
            </a:r>
            <a:r>
              <a:rPr sz="1800" b="1" spc="-5" dirty="0">
                <a:latin typeface="Arial"/>
                <a:cs typeface="Arial"/>
              </a:rPr>
              <a:t>campaigns, credit &amp; risk management </a:t>
            </a:r>
            <a:r>
              <a:rPr sz="1800" b="1" dirty="0">
                <a:latin typeface="Arial"/>
                <a:cs typeface="Arial"/>
              </a:rPr>
              <a:t>policies,</a:t>
            </a:r>
            <a:r>
              <a:rPr sz="1800" b="1" spc="3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etc.</a:t>
            </a:r>
            <a:endParaRPr sz="1800">
              <a:latin typeface="Arial"/>
              <a:cs typeface="Arial"/>
            </a:endParaRPr>
          </a:p>
          <a:p>
            <a:pPr marL="12700" marR="5715" algn="just">
              <a:lnSpc>
                <a:spcPct val="80000"/>
              </a:lnSpc>
              <a:spcBef>
                <a:spcPts val="430"/>
              </a:spcBef>
            </a:pPr>
            <a:r>
              <a:rPr sz="1800" b="1" dirty="0">
                <a:latin typeface="Arial"/>
                <a:cs typeface="Arial"/>
              </a:rPr>
              <a:t>Products </a:t>
            </a:r>
            <a:r>
              <a:rPr sz="1800" b="1" spc="-5" dirty="0">
                <a:latin typeface="Arial"/>
                <a:cs typeface="Arial"/>
              </a:rPr>
              <a:t>are </a:t>
            </a:r>
            <a:r>
              <a:rPr sz="1800" b="1" dirty="0">
                <a:latin typeface="Arial"/>
                <a:cs typeface="Arial"/>
              </a:rPr>
              <a:t>sold </a:t>
            </a:r>
            <a:r>
              <a:rPr sz="1800" b="1" spc="-5" dirty="0">
                <a:latin typeface="Arial"/>
                <a:cs typeface="Arial"/>
              </a:rPr>
              <a:t>or sent </a:t>
            </a:r>
            <a:r>
              <a:rPr sz="1800" b="1" spc="-10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business partners, or services are   performed for them. </a:t>
            </a:r>
            <a:r>
              <a:rPr sz="1800" b="1" dirty="0">
                <a:latin typeface="Arial"/>
                <a:cs typeface="Arial"/>
              </a:rPr>
              <a:t>Information about </a:t>
            </a:r>
            <a:r>
              <a:rPr sz="1800" b="1" spc="-10" dirty="0">
                <a:latin typeface="Arial"/>
                <a:cs typeface="Arial"/>
              </a:rPr>
              <a:t>the </a:t>
            </a:r>
            <a:r>
              <a:rPr sz="1800" b="1" dirty="0">
                <a:latin typeface="Arial"/>
                <a:cs typeface="Arial"/>
              </a:rPr>
              <a:t>products and </a:t>
            </a:r>
            <a:r>
              <a:rPr sz="1800" b="1" spc="-5" dirty="0">
                <a:latin typeface="Arial"/>
                <a:cs typeface="Arial"/>
              </a:rPr>
              <a:t>services,  as </a:t>
            </a:r>
            <a:r>
              <a:rPr sz="1800" b="1" spc="10" dirty="0">
                <a:latin typeface="Arial"/>
                <a:cs typeface="Arial"/>
              </a:rPr>
              <a:t>well </a:t>
            </a:r>
            <a:r>
              <a:rPr sz="1800" b="1" spc="-5" dirty="0">
                <a:latin typeface="Arial"/>
                <a:cs typeface="Arial"/>
              </a:rPr>
              <a:t>as </a:t>
            </a:r>
            <a:r>
              <a:rPr sz="1800" b="1" dirty="0">
                <a:latin typeface="Arial"/>
                <a:cs typeface="Arial"/>
              </a:rPr>
              <a:t>about the </a:t>
            </a:r>
            <a:r>
              <a:rPr sz="1800" b="1" spc="-5" dirty="0">
                <a:latin typeface="Arial"/>
                <a:cs typeface="Arial"/>
              </a:rPr>
              <a:t>customers, i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basis for sales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rocessing</a:t>
            </a:r>
            <a:endParaRPr sz="1800">
              <a:latin typeface="Arial"/>
              <a:cs typeface="Arial"/>
            </a:endParaRPr>
          </a:p>
          <a:p>
            <a:pPr marL="12700" marR="5715" algn="just">
              <a:lnSpc>
                <a:spcPct val="80000"/>
              </a:lnSpc>
              <a:spcBef>
                <a:spcPts val="430"/>
              </a:spcBef>
            </a:pPr>
            <a:r>
              <a:rPr sz="1800" b="1" spc="-20" dirty="0">
                <a:latin typeface="Arial"/>
                <a:cs typeface="Arial"/>
              </a:rPr>
              <a:t>However, </a:t>
            </a:r>
            <a:r>
              <a:rPr sz="1800" b="1" dirty="0">
                <a:latin typeface="Arial"/>
                <a:cs typeface="Arial"/>
              </a:rPr>
              <a:t>in </a:t>
            </a:r>
            <a:r>
              <a:rPr sz="1800" b="1" spc="-5" dirty="0">
                <a:latin typeface="Arial"/>
                <a:cs typeface="Arial"/>
              </a:rPr>
              <a:t>order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deliver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goods </a:t>
            </a:r>
            <a:r>
              <a:rPr sz="1800" b="1" spc="-10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the end </a:t>
            </a:r>
            <a:r>
              <a:rPr sz="1800" b="1" spc="-5" dirty="0">
                <a:latin typeface="Arial"/>
                <a:cs typeface="Arial"/>
              </a:rPr>
              <a:t>customer a </a:t>
            </a:r>
            <a:r>
              <a:rPr sz="1800" b="1" dirty="0">
                <a:latin typeface="Arial"/>
                <a:cs typeface="Arial"/>
              </a:rPr>
              <a:t>lot  </a:t>
            </a:r>
            <a:r>
              <a:rPr sz="1800" b="1" spc="-5" dirty="0">
                <a:latin typeface="Arial"/>
                <a:cs typeface="Arial"/>
              </a:rPr>
              <a:t>more </a:t>
            </a:r>
            <a:r>
              <a:rPr sz="1800" b="1" dirty="0">
                <a:latin typeface="Arial"/>
                <a:cs typeface="Arial"/>
              </a:rPr>
              <a:t>information </a:t>
            </a:r>
            <a:r>
              <a:rPr sz="1800" b="1" spc="-5" dirty="0">
                <a:latin typeface="Arial"/>
                <a:cs typeface="Arial"/>
              </a:rPr>
              <a:t>is required. This information includes, </a:t>
            </a:r>
            <a:r>
              <a:rPr sz="1800" b="1" dirty="0">
                <a:latin typeface="Arial"/>
                <a:cs typeface="Arial"/>
              </a:rPr>
              <a:t>but </a:t>
            </a:r>
            <a:r>
              <a:rPr sz="1800" b="1" spc="-5" dirty="0">
                <a:latin typeface="Arial"/>
                <a:cs typeface="Arial"/>
              </a:rPr>
              <a:t>is </a:t>
            </a:r>
            <a:r>
              <a:rPr sz="1800" b="1" dirty="0">
                <a:latin typeface="Arial"/>
                <a:cs typeface="Arial"/>
              </a:rPr>
              <a:t>not  limited </a:t>
            </a:r>
            <a:r>
              <a:rPr sz="1800" b="1" spc="-5" dirty="0">
                <a:latin typeface="Arial"/>
                <a:cs typeface="Arial"/>
              </a:rPr>
              <a:t>to, schedule for supplies, packing, transportation and </a:t>
            </a:r>
            <a:r>
              <a:rPr sz="1800" b="1" spc="-25" dirty="0">
                <a:latin typeface="Arial"/>
                <a:cs typeface="Arial"/>
              </a:rPr>
              <a:t>so  </a:t>
            </a:r>
            <a:r>
              <a:rPr sz="1800" b="1" dirty="0">
                <a:latin typeface="Arial"/>
                <a:cs typeface="Arial"/>
              </a:rPr>
              <a:t>on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09600" y="5867400"/>
            <a:ext cx="7848600" cy="381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09600" y="5867400"/>
            <a:ext cx="7848600" cy="381000"/>
          </a:xfrm>
          <a:custGeom>
            <a:avLst/>
            <a:gdLst/>
            <a:ahLst/>
            <a:cxnLst/>
            <a:rect l="l" t="t" r="r" b="b"/>
            <a:pathLst>
              <a:path w="7848600" h="381000">
                <a:moveTo>
                  <a:pt x="0" y="63500"/>
                </a:moveTo>
                <a:lnTo>
                  <a:pt x="4990" y="38785"/>
                </a:lnTo>
                <a:lnTo>
                  <a:pt x="18600" y="18600"/>
                </a:lnTo>
                <a:lnTo>
                  <a:pt x="38785" y="4990"/>
                </a:lnTo>
                <a:lnTo>
                  <a:pt x="63500" y="0"/>
                </a:lnTo>
                <a:lnTo>
                  <a:pt x="7785100" y="0"/>
                </a:lnTo>
                <a:lnTo>
                  <a:pt x="7809809" y="4990"/>
                </a:lnTo>
                <a:lnTo>
                  <a:pt x="7829994" y="18600"/>
                </a:lnTo>
                <a:lnTo>
                  <a:pt x="7843607" y="38785"/>
                </a:lnTo>
                <a:lnTo>
                  <a:pt x="7848600" y="63500"/>
                </a:lnTo>
                <a:lnTo>
                  <a:pt x="7848600" y="317500"/>
                </a:lnTo>
                <a:lnTo>
                  <a:pt x="7843607" y="342214"/>
                </a:lnTo>
                <a:lnTo>
                  <a:pt x="7829994" y="362399"/>
                </a:lnTo>
                <a:lnTo>
                  <a:pt x="7809809" y="376009"/>
                </a:lnTo>
                <a:lnTo>
                  <a:pt x="7785100" y="381000"/>
                </a:lnTo>
                <a:lnTo>
                  <a:pt x="63500" y="381000"/>
                </a:lnTo>
                <a:lnTo>
                  <a:pt x="38785" y="376009"/>
                </a:lnTo>
                <a:lnTo>
                  <a:pt x="18600" y="362399"/>
                </a:lnTo>
                <a:lnTo>
                  <a:pt x="4990" y="342214"/>
                </a:lnTo>
                <a:lnTo>
                  <a:pt x="0" y="317500"/>
                </a:lnTo>
                <a:lnTo>
                  <a:pt x="0" y="63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591180" y="5898083"/>
            <a:ext cx="388429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SD is much </a:t>
            </a:r>
            <a:r>
              <a:rPr sz="2000" b="1" spc="-10" dirty="0">
                <a:latin typeface="Times New Roman"/>
                <a:cs typeface="Times New Roman"/>
              </a:rPr>
              <a:t>more </a:t>
            </a:r>
            <a:r>
              <a:rPr sz="2000" b="1" dirty="0">
                <a:latin typeface="Times New Roman"/>
                <a:cs typeface="Times New Roman"/>
              </a:rPr>
              <a:t>than Sales</a:t>
            </a:r>
            <a:r>
              <a:rPr sz="2000" b="1" spc="-140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Orders</a:t>
            </a:r>
            <a:endParaRPr sz="20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7620" y="4405884"/>
            <a:ext cx="573024" cy="5821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915155" y="4405884"/>
            <a:ext cx="574548" cy="582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128515" y="4914900"/>
            <a:ext cx="652272" cy="66141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026534" y="1577085"/>
            <a:ext cx="4787900" cy="2534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s are </a:t>
            </a:r>
            <a:r>
              <a:rPr sz="1800" b="1" dirty="0">
                <a:latin typeface="Arial"/>
                <a:cs typeface="Arial"/>
              </a:rPr>
              <a:t>always </a:t>
            </a:r>
            <a:r>
              <a:rPr sz="1800" b="1" spc="-5" dirty="0">
                <a:latin typeface="Arial"/>
                <a:cs typeface="Arial"/>
              </a:rPr>
              <a:t>created  </a:t>
            </a:r>
            <a:r>
              <a:rPr sz="1800" b="1" spc="5" dirty="0">
                <a:latin typeface="Arial"/>
                <a:cs typeface="Arial"/>
              </a:rPr>
              <a:t>with </a:t>
            </a:r>
            <a:r>
              <a:rPr sz="1800" b="1" spc="-5" dirty="0">
                <a:latin typeface="Arial"/>
                <a:cs typeface="Arial"/>
              </a:rPr>
              <a:t>reference either </a:t>
            </a:r>
            <a:r>
              <a:rPr sz="1800" b="1" dirty="0">
                <a:latin typeface="Arial"/>
                <a:cs typeface="Arial"/>
              </a:rPr>
              <a:t>to order or</a:t>
            </a:r>
            <a:r>
              <a:rPr sz="1800" b="1" spc="-65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delivery.  </a:t>
            </a:r>
            <a:r>
              <a:rPr sz="1800" b="1" spc="-10" dirty="0">
                <a:latin typeface="Arial"/>
                <a:cs typeface="Arial"/>
              </a:rPr>
              <a:t>Delivery </a:t>
            </a:r>
            <a:r>
              <a:rPr sz="1800" b="1" spc="-5" dirty="0">
                <a:latin typeface="Arial"/>
                <a:cs typeface="Arial"/>
              </a:rPr>
              <a:t>items as </a:t>
            </a:r>
            <a:r>
              <a:rPr sz="1800" b="1" spc="10" dirty="0">
                <a:latin typeface="Arial"/>
                <a:cs typeface="Arial"/>
              </a:rPr>
              <a:t>well </a:t>
            </a:r>
            <a:r>
              <a:rPr sz="1800" b="1" spc="-5" dirty="0">
                <a:latin typeface="Arial"/>
                <a:cs typeface="Arial"/>
              </a:rPr>
              <a:t>as </a:t>
            </a:r>
            <a:r>
              <a:rPr sz="1800" b="1" dirty="0">
                <a:latin typeface="Arial"/>
                <a:cs typeface="Arial"/>
              </a:rPr>
              <a:t>order </a:t>
            </a:r>
            <a:r>
              <a:rPr sz="1800" b="1" spc="-5" dirty="0">
                <a:latin typeface="Arial"/>
                <a:cs typeface="Arial"/>
              </a:rPr>
              <a:t>items  </a:t>
            </a:r>
            <a:r>
              <a:rPr sz="1800" b="1" dirty="0">
                <a:latin typeface="Arial"/>
                <a:cs typeface="Arial"/>
              </a:rPr>
              <a:t>(products </a:t>
            </a:r>
            <a:r>
              <a:rPr sz="1800" b="1" spc="-5" dirty="0">
                <a:latin typeface="Arial"/>
                <a:cs typeface="Arial"/>
              </a:rPr>
              <a:t>&amp; </a:t>
            </a:r>
            <a:r>
              <a:rPr sz="1800" b="1" spc="-10" dirty="0">
                <a:latin typeface="Arial"/>
                <a:cs typeface="Arial"/>
              </a:rPr>
              <a:t>services) </a:t>
            </a:r>
            <a:r>
              <a:rPr sz="1800" b="1" spc="-5" dirty="0">
                <a:latin typeface="Arial"/>
                <a:cs typeface="Arial"/>
              </a:rPr>
              <a:t>can be references  </a:t>
            </a:r>
            <a:r>
              <a:rPr sz="1800" b="1" dirty="0">
                <a:latin typeface="Arial"/>
                <a:cs typeface="Arial"/>
              </a:rPr>
              <a:t>for a billing</a:t>
            </a:r>
            <a:r>
              <a:rPr sz="1800" b="1" spc="-10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ocument.</a:t>
            </a:r>
            <a:endParaRPr sz="1800">
              <a:latin typeface="Arial"/>
              <a:cs typeface="Arial"/>
            </a:endParaRPr>
          </a:p>
          <a:p>
            <a:pPr marL="355600" marR="438150" indent="-342900">
              <a:lnSpc>
                <a:spcPct val="100000"/>
              </a:lnSpc>
              <a:spcBef>
                <a:spcPts val="43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s </a:t>
            </a:r>
            <a:r>
              <a:rPr sz="1800" b="1" spc="-15" dirty="0">
                <a:latin typeface="Arial"/>
                <a:cs typeface="Arial"/>
              </a:rPr>
              <a:t>have </a:t>
            </a:r>
            <a:r>
              <a:rPr sz="1800" b="1" dirty="0">
                <a:latin typeface="Arial"/>
                <a:cs typeface="Arial"/>
              </a:rPr>
              <a:t>only internal  number </a:t>
            </a:r>
            <a:r>
              <a:rPr sz="1800" b="1" spc="-5" dirty="0">
                <a:latin typeface="Arial"/>
                <a:cs typeface="Arial"/>
              </a:rPr>
              <a:t>range assigned, </a:t>
            </a:r>
            <a:r>
              <a:rPr sz="1800" b="1" dirty="0">
                <a:latin typeface="Arial"/>
                <a:cs typeface="Arial"/>
              </a:rPr>
              <a:t>it </a:t>
            </a:r>
            <a:r>
              <a:rPr sz="1800" b="1" spc="-5" dirty="0">
                <a:latin typeface="Arial"/>
                <a:cs typeface="Arial"/>
              </a:rPr>
              <a:t>is </a:t>
            </a:r>
            <a:r>
              <a:rPr sz="1800" b="1" dirty="0">
                <a:latin typeface="Arial"/>
                <a:cs typeface="Arial"/>
              </a:rPr>
              <a:t>not  </a:t>
            </a:r>
            <a:r>
              <a:rPr sz="1800" b="1" spc="-5" dirty="0">
                <a:latin typeface="Arial"/>
                <a:cs typeface="Arial"/>
              </a:rPr>
              <a:t>possibl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assign external </a:t>
            </a:r>
            <a:r>
              <a:rPr sz="1800" b="1" dirty="0">
                <a:latin typeface="Arial"/>
                <a:cs typeface="Arial"/>
              </a:rPr>
              <a:t>number  </a:t>
            </a:r>
            <a:r>
              <a:rPr sz="1800" b="1" spc="-5" dirty="0">
                <a:latin typeface="Arial"/>
                <a:cs typeface="Arial"/>
              </a:rPr>
              <a:t>range.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006084" y="260604"/>
            <a:ext cx="886967" cy="8976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70" dirty="0"/>
              <a:t> </a:t>
            </a:r>
            <a:r>
              <a:rPr dirty="0"/>
              <a:t>Bill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459740" y="4520438"/>
            <a:ext cx="7762875" cy="1382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marR="5080" indent="-286385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 has header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5" dirty="0">
                <a:latin typeface="Arial"/>
                <a:cs typeface="Arial"/>
              </a:rPr>
              <a:t>item </a:t>
            </a:r>
            <a:r>
              <a:rPr sz="1800" b="1" spc="-10" dirty="0">
                <a:latin typeface="Arial"/>
                <a:cs typeface="Arial"/>
              </a:rPr>
              <a:t>level </a:t>
            </a:r>
            <a:r>
              <a:rPr sz="1800" b="1" spc="-5" dirty="0">
                <a:latin typeface="Arial"/>
                <a:cs typeface="Arial"/>
              </a:rPr>
              <a:t>data and form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basis  as data source for financial</a:t>
            </a:r>
            <a:r>
              <a:rPr sz="1800" b="1" spc="3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ccounting</a:t>
            </a:r>
            <a:endParaRPr sz="1800">
              <a:latin typeface="Arial"/>
              <a:cs typeface="Arial"/>
            </a:endParaRPr>
          </a:p>
          <a:p>
            <a:pPr marL="299085" indent="-286385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 creation updates </a:t>
            </a:r>
            <a:r>
              <a:rPr sz="1800" b="1" dirty="0">
                <a:latin typeface="Arial"/>
                <a:cs typeface="Arial"/>
              </a:rPr>
              <a:t>G/L </a:t>
            </a:r>
            <a:r>
              <a:rPr sz="1800" b="1" spc="-5" dirty="0">
                <a:latin typeface="Arial"/>
                <a:cs typeface="Arial"/>
              </a:rPr>
              <a:t>accounts and carries</a:t>
            </a:r>
            <a:r>
              <a:rPr sz="1800" b="1" spc="2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ut</a:t>
            </a:r>
            <a:endParaRPr sz="1800">
              <a:latin typeface="Arial"/>
              <a:cs typeface="Arial"/>
            </a:endParaRPr>
          </a:p>
          <a:p>
            <a:pPr marL="341630" lvl="1" indent="-140335">
              <a:lnSpc>
                <a:spcPct val="100000"/>
              </a:lnSpc>
              <a:buChar char="-"/>
              <a:tabLst>
                <a:tab pos="342265" algn="l"/>
              </a:tabLst>
            </a:pPr>
            <a:r>
              <a:rPr sz="1800" b="1" dirty="0">
                <a:latin typeface="Arial"/>
                <a:cs typeface="Arial"/>
              </a:rPr>
              <a:t>debit </a:t>
            </a:r>
            <a:r>
              <a:rPr sz="1800" b="1" spc="-5" dirty="0">
                <a:latin typeface="Arial"/>
                <a:cs typeface="Arial"/>
              </a:rPr>
              <a:t>posting </a:t>
            </a:r>
            <a:r>
              <a:rPr sz="1800" b="1" dirty="0">
                <a:latin typeface="Arial"/>
                <a:cs typeface="Arial"/>
              </a:rPr>
              <a:t>on </a:t>
            </a:r>
            <a:r>
              <a:rPr sz="1800" b="1" spc="-5" dirty="0">
                <a:latin typeface="Arial"/>
                <a:cs typeface="Arial"/>
              </a:rPr>
              <a:t>customer </a:t>
            </a:r>
            <a:r>
              <a:rPr sz="1800" b="1" spc="-10" dirty="0">
                <a:latin typeface="Arial"/>
                <a:cs typeface="Arial"/>
              </a:rPr>
              <a:t>receivables</a:t>
            </a:r>
            <a:r>
              <a:rPr sz="1800" b="1" spc="2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ccount</a:t>
            </a:r>
            <a:endParaRPr sz="1800">
              <a:latin typeface="Arial"/>
              <a:cs typeface="Arial"/>
            </a:endParaRPr>
          </a:p>
          <a:p>
            <a:pPr marL="341630" lvl="1" indent="-140335">
              <a:lnSpc>
                <a:spcPct val="100000"/>
              </a:lnSpc>
              <a:buChar char="-"/>
              <a:tabLst>
                <a:tab pos="342265" algn="l"/>
              </a:tabLst>
            </a:pPr>
            <a:r>
              <a:rPr sz="1800" b="1" spc="-5" dirty="0">
                <a:latin typeface="Arial"/>
                <a:cs typeface="Arial"/>
              </a:rPr>
              <a:t>credit </a:t>
            </a:r>
            <a:r>
              <a:rPr sz="1800" b="1" dirty="0">
                <a:latin typeface="Arial"/>
                <a:cs typeface="Arial"/>
              </a:rPr>
              <a:t>posting </a:t>
            </a:r>
            <a:r>
              <a:rPr sz="1800" b="1" spc="-5" dirty="0">
                <a:latin typeface="Arial"/>
                <a:cs typeface="Arial"/>
              </a:rPr>
              <a:t>on </a:t>
            </a:r>
            <a:r>
              <a:rPr sz="1800" b="1" spc="-10" dirty="0">
                <a:latin typeface="Arial"/>
                <a:cs typeface="Arial"/>
              </a:rPr>
              <a:t>revenue</a:t>
            </a:r>
            <a:r>
              <a:rPr sz="1800" b="1" spc="1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ccou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1000" y="2286000"/>
            <a:ext cx="762000" cy="1270000"/>
          </a:xfrm>
          <a:custGeom>
            <a:avLst/>
            <a:gdLst/>
            <a:ahLst/>
            <a:cxnLst/>
            <a:rect l="l" t="t" r="r" b="b"/>
            <a:pathLst>
              <a:path w="762000" h="1270000">
                <a:moveTo>
                  <a:pt x="0" y="453389"/>
                </a:moveTo>
                <a:lnTo>
                  <a:pt x="2683" y="491516"/>
                </a:lnTo>
                <a:lnTo>
                  <a:pt x="10612" y="528934"/>
                </a:lnTo>
                <a:lnTo>
                  <a:pt x="23604" y="565489"/>
                </a:lnTo>
                <a:lnTo>
                  <a:pt x="41476" y="601027"/>
                </a:lnTo>
                <a:lnTo>
                  <a:pt x="64046" y="635395"/>
                </a:lnTo>
                <a:lnTo>
                  <a:pt x="91132" y="668438"/>
                </a:lnTo>
                <a:lnTo>
                  <a:pt x="122551" y="700004"/>
                </a:lnTo>
                <a:lnTo>
                  <a:pt x="158120" y="729937"/>
                </a:lnTo>
                <a:lnTo>
                  <a:pt x="197658" y="758086"/>
                </a:lnTo>
                <a:lnTo>
                  <a:pt x="240982" y="784295"/>
                </a:lnTo>
                <a:lnTo>
                  <a:pt x="287908" y="808411"/>
                </a:lnTo>
                <a:lnTo>
                  <a:pt x="338256" y="830281"/>
                </a:lnTo>
                <a:lnTo>
                  <a:pt x="391842" y="849750"/>
                </a:lnTo>
                <a:lnTo>
                  <a:pt x="448484" y="866665"/>
                </a:lnTo>
                <a:lnTo>
                  <a:pt x="508000" y="880872"/>
                </a:lnTo>
                <a:lnTo>
                  <a:pt x="508000" y="751332"/>
                </a:lnTo>
                <a:lnTo>
                  <a:pt x="762000" y="1036320"/>
                </a:lnTo>
                <a:lnTo>
                  <a:pt x="508000" y="1269491"/>
                </a:lnTo>
                <a:lnTo>
                  <a:pt x="508000" y="1139952"/>
                </a:lnTo>
                <a:lnTo>
                  <a:pt x="448484" y="1125745"/>
                </a:lnTo>
                <a:lnTo>
                  <a:pt x="391842" y="1108830"/>
                </a:lnTo>
                <a:lnTo>
                  <a:pt x="338256" y="1089361"/>
                </a:lnTo>
                <a:lnTo>
                  <a:pt x="287908" y="1067491"/>
                </a:lnTo>
                <a:lnTo>
                  <a:pt x="240982" y="1043375"/>
                </a:lnTo>
                <a:lnTo>
                  <a:pt x="197658" y="1017166"/>
                </a:lnTo>
                <a:lnTo>
                  <a:pt x="158120" y="989017"/>
                </a:lnTo>
                <a:lnTo>
                  <a:pt x="122551" y="959084"/>
                </a:lnTo>
                <a:lnTo>
                  <a:pt x="91132" y="927518"/>
                </a:lnTo>
                <a:lnTo>
                  <a:pt x="64046" y="894475"/>
                </a:lnTo>
                <a:lnTo>
                  <a:pt x="41476" y="860107"/>
                </a:lnTo>
                <a:lnTo>
                  <a:pt x="23604" y="824569"/>
                </a:lnTo>
                <a:lnTo>
                  <a:pt x="10612" y="788014"/>
                </a:lnTo>
                <a:lnTo>
                  <a:pt x="2683" y="750596"/>
                </a:lnTo>
                <a:lnTo>
                  <a:pt x="0" y="712470"/>
                </a:lnTo>
                <a:lnTo>
                  <a:pt x="0" y="453389"/>
                </a:lnTo>
                <a:lnTo>
                  <a:pt x="2292" y="417952"/>
                </a:lnTo>
                <a:lnTo>
                  <a:pt x="9057" y="383261"/>
                </a:lnTo>
                <a:lnTo>
                  <a:pt x="35326" y="316523"/>
                </a:lnTo>
                <a:lnTo>
                  <a:pt x="77450" y="253981"/>
                </a:lnTo>
                <a:lnTo>
                  <a:pt x="104035" y="224536"/>
                </a:lnTo>
                <a:lnTo>
                  <a:pt x="134076" y="196441"/>
                </a:lnTo>
                <a:lnTo>
                  <a:pt x="167403" y="169799"/>
                </a:lnTo>
                <a:lnTo>
                  <a:pt x="203847" y="144709"/>
                </a:lnTo>
                <a:lnTo>
                  <a:pt x="243238" y="121273"/>
                </a:lnTo>
                <a:lnTo>
                  <a:pt x="285408" y="99590"/>
                </a:lnTo>
                <a:lnTo>
                  <a:pt x="330186" y="79763"/>
                </a:lnTo>
                <a:lnTo>
                  <a:pt x="377404" y="61891"/>
                </a:lnTo>
                <a:lnTo>
                  <a:pt x="426892" y="46075"/>
                </a:lnTo>
                <a:lnTo>
                  <a:pt x="478480" y="32416"/>
                </a:lnTo>
                <a:lnTo>
                  <a:pt x="531999" y="21015"/>
                </a:lnTo>
                <a:lnTo>
                  <a:pt x="587280" y="11972"/>
                </a:lnTo>
                <a:lnTo>
                  <a:pt x="644154" y="5388"/>
                </a:lnTo>
                <a:lnTo>
                  <a:pt x="702450" y="1363"/>
                </a:lnTo>
                <a:lnTo>
                  <a:pt x="762000" y="0"/>
                </a:lnTo>
                <a:lnTo>
                  <a:pt x="762000" y="259079"/>
                </a:lnTo>
                <a:lnTo>
                  <a:pt x="702980" y="260432"/>
                </a:lnTo>
                <a:lnTo>
                  <a:pt x="644988" y="264432"/>
                </a:lnTo>
                <a:lnTo>
                  <a:pt x="588218" y="270992"/>
                </a:lnTo>
                <a:lnTo>
                  <a:pt x="532868" y="280025"/>
                </a:lnTo>
                <a:lnTo>
                  <a:pt x="479133" y="291445"/>
                </a:lnTo>
                <a:lnTo>
                  <a:pt x="427210" y="305163"/>
                </a:lnTo>
                <a:lnTo>
                  <a:pt x="377295" y="321094"/>
                </a:lnTo>
                <a:lnTo>
                  <a:pt x="329585" y="339150"/>
                </a:lnTo>
                <a:lnTo>
                  <a:pt x="284274" y="359244"/>
                </a:lnTo>
                <a:lnTo>
                  <a:pt x="241561" y="381290"/>
                </a:lnTo>
                <a:lnTo>
                  <a:pt x="201641" y="405199"/>
                </a:lnTo>
                <a:lnTo>
                  <a:pt x="164710" y="430885"/>
                </a:lnTo>
                <a:lnTo>
                  <a:pt x="130964" y="458262"/>
                </a:lnTo>
                <a:lnTo>
                  <a:pt x="100601" y="487242"/>
                </a:lnTo>
                <a:lnTo>
                  <a:pt x="73815" y="517738"/>
                </a:lnTo>
                <a:lnTo>
                  <a:pt x="50803" y="549663"/>
                </a:lnTo>
                <a:lnTo>
                  <a:pt x="31762" y="5829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19400" y="2209800"/>
            <a:ext cx="838200" cy="1195070"/>
          </a:xfrm>
          <a:custGeom>
            <a:avLst/>
            <a:gdLst/>
            <a:ahLst/>
            <a:cxnLst/>
            <a:rect l="l" t="t" r="r" b="b"/>
            <a:pathLst>
              <a:path w="838200" h="1195070">
                <a:moveTo>
                  <a:pt x="838200" y="670560"/>
                </a:moveTo>
                <a:lnTo>
                  <a:pt x="829111" y="607493"/>
                </a:lnTo>
                <a:lnTo>
                  <a:pt x="802710" y="547302"/>
                </a:lnTo>
                <a:lnTo>
                  <a:pt x="760293" y="490647"/>
                </a:lnTo>
                <a:lnTo>
                  <a:pt x="703158" y="438188"/>
                </a:lnTo>
                <a:lnTo>
                  <a:pt x="669476" y="413737"/>
                </a:lnTo>
                <a:lnTo>
                  <a:pt x="632600" y="390583"/>
                </a:lnTo>
                <a:lnTo>
                  <a:pt x="592693" y="368808"/>
                </a:lnTo>
                <a:lnTo>
                  <a:pt x="549916" y="348493"/>
                </a:lnTo>
                <a:lnTo>
                  <a:pt x="504433" y="329722"/>
                </a:lnTo>
                <a:lnTo>
                  <a:pt x="456404" y="312576"/>
                </a:lnTo>
                <a:lnTo>
                  <a:pt x="405992" y="297139"/>
                </a:lnTo>
                <a:lnTo>
                  <a:pt x="353359" y="283493"/>
                </a:lnTo>
                <a:lnTo>
                  <a:pt x="298667" y="271720"/>
                </a:lnTo>
                <a:lnTo>
                  <a:pt x="242079" y="261903"/>
                </a:lnTo>
                <a:lnTo>
                  <a:pt x="183756" y="254124"/>
                </a:lnTo>
                <a:lnTo>
                  <a:pt x="123860" y="248465"/>
                </a:lnTo>
                <a:lnTo>
                  <a:pt x="62554" y="245010"/>
                </a:lnTo>
                <a:lnTo>
                  <a:pt x="0" y="243839"/>
                </a:lnTo>
                <a:lnTo>
                  <a:pt x="0" y="0"/>
                </a:lnTo>
                <a:lnTo>
                  <a:pt x="62554" y="1170"/>
                </a:lnTo>
                <a:lnTo>
                  <a:pt x="123860" y="4625"/>
                </a:lnTo>
                <a:lnTo>
                  <a:pt x="183756" y="10284"/>
                </a:lnTo>
                <a:lnTo>
                  <a:pt x="242079" y="18063"/>
                </a:lnTo>
                <a:lnTo>
                  <a:pt x="298667" y="27880"/>
                </a:lnTo>
                <a:lnTo>
                  <a:pt x="353359" y="39653"/>
                </a:lnTo>
                <a:lnTo>
                  <a:pt x="405992" y="53299"/>
                </a:lnTo>
                <a:lnTo>
                  <a:pt x="456404" y="68736"/>
                </a:lnTo>
                <a:lnTo>
                  <a:pt x="504433" y="85882"/>
                </a:lnTo>
                <a:lnTo>
                  <a:pt x="549916" y="104653"/>
                </a:lnTo>
                <a:lnTo>
                  <a:pt x="592693" y="124967"/>
                </a:lnTo>
                <a:lnTo>
                  <a:pt x="632600" y="146743"/>
                </a:lnTo>
                <a:lnTo>
                  <a:pt x="669476" y="169897"/>
                </a:lnTo>
                <a:lnTo>
                  <a:pt x="703158" y="194348"/>
                </a:lnTo>
                <a:lnTo>
                  <a:pt x="733484" y="220012"/>
                </a:lnTo>
                <a:lnTo>
                  <a:pt x="783423" y="274652"/>
                </a:lnTo>
                <a:lnTo>
                  <a:pt x="817994" y="333157"/>
                </a:lnTo>
                <a:lnTo>
                  <a:pt x="835900" y="394868"/>
                </a:lnTo>
                <a:lnTo>
                  <a:pt x="838200" y="426720"/>
                </a:lnTo>
                <a:lnTo>
                  <a:pt x="838200" y="670560"/>
                </a:lnTo>
                <a:lnTo>
                  <a:pt x="835603" y="704218"/>
                </a:lnTo>
                <a:lnTo>
                  <a:pt x="827925" y="737296"/>
                </a:lnTo>
                <a:lnTo>
                  <a:pt x="797982" y="801237"/>
                </a:lnTo>
                <a:lnTo>
                  <a:pt x="749695" y="861429"/>
                </a:lnTo>
                <a:lnTo>
                  <a:pt x="719086" y="889823"/>
                </a:lnTo>
                <a:lnTo>
                  <a:pt x="684387" y="916924"/>
                </a:lnTo>
                <a:lnTo>
                  <a:pt x="645763" y="942612"/>
                </a:lnTo>
                <a:lnTo>
                  <a:pt x="603380" y="966768"/>
                </a:lnTo>
                <a:lnTo>
                  <a:pt x="557403" y="989275"/>
                </a:lnTo>
                <a:lnTo>
                  <a:pt x="507998" y="1010013"/>
                </a:lnTo>
                <a:lnTo>
                  <a:pt x="455329" y="1028862"/>
                </a:lnTo>
                <a:lnTo>
                  <a:pt x="399563" y="1045705"/>
                </a:lnTo>
                <a:lnTo>
                  <a:pt x="340865" y="1060423"/>
                </a:lnTo>
                <a:lnTo>
                  <a:pt x="279400" y="1072896"/>
                </a:lnTo>
                <a:lnTo>
                  <a:pt x="279400" y="1194815"/>
                </a:lnTo>
                <a:lnTo>
                  <a:pt x="0" y="975360"/>
                </a:lnTo>
                <a:lnTo>
                  <a:pt x="279400" y="707136"/>
                </a:lnTo>
                <a:lnTo>
                  <a:pt x="279400" y="829055"/>
                </a:lnTo>
                <a:lnTo>
                  <a:pt x="341309" y="816483"/>
                </a:lnTo>
                <a:lnTo>
                  <a:pt x="400596" y="801572"/>
                </a:lnTo>
                <a:lnTo>
                  <a:pt x="457053" y="784437"/>
                </a:lnTo>
                <a:lnTo>
                  <a:pt x="510469" y="765189"/>
                </a:lnTo>
                <a:lnTo>
                  <a:pt x="560636" y="743940"/>
                </a:lnTo>
                <a:lnTo>
                  <a:pt x="607345" y="720804"/>
                </a:lnTo>
                <a:lnTo>
                  <a:pt x="650387" y="695892"/>
                </a:lnTo>
                <a:lnTo>
                  <a:pt x="689553" y="669318"/>
                </a:lnTo>
                <a:lnTo>
                  <a:pt x="724634" y="641193"/>
                </a:lnTo>
                <a:lnTo>
                  <a:pt x="755420" y="611630"/>
                </a:lnTo>
                <a:lnTo>
                  <a:pt x="781703" y="580741"/>
                </a:lnTo>
                <a:lnTo>
                  <a:pt x="803275" y="54863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219200" y="1905000"/>
            <a:ext cx="1524000" cy="2057400"/>
          </a:xfrm>
          <a:custGeom>
            <a:avLst/>
            <a:gdLst/>
            <a:ahLst/>
            <a:cxnLst/>
            <a:rect l="l" t="t" r="r" b="b"/>
            <a:pathLst>
              <a:path w="1524000" h="2057400">
                <a:moveTo>
                  <a:pt x="1524000" y="0"/>
                </a:moveTo>
                <a:lnTo>
                  <a:pt x="0" y="0"/>
                </a:lnTo>
                <a:lnTo>
                  <a:pt x="0" y="2057400"/>
                </a:lnTo>
                <a:lnTo>
                  <a:pt x="1333500" y="2057400"/>
                </a:lnTo>
                <a:lnTo>
                  <a:pt x="1524000" y="1866900"/>
                </a:lnTo>
                <a:lnTo>
                  <a:pt x="15240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552700" y="3771900"/>
            <a:ext cx="190500" cy="190500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500" y="0"/>
                </a:moveTo>
                <a:lnTo>
                  <a:pt x="38100" y="38100"/>
                </a:lnTo>
                <a:lnTo>
                  <a:pt x="0" y="190500"/>
                </a:lnTo>
                <a:lnTo>
                  <a:pt x="190500" y="0"/>
                </a:lnTo>
                <a:close/>
              </a:path>
            </a:pathLst>
          </a:custGeom>
          <a:solidFill>
            <a:srgbClr val="A3A3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219200" y="1905000"/>
            <a:ext cx="1524000" cy="2057400"/>
          </a:xfrm>
          <a:custGeom>
            <a:avLst/>
            <a:gdLst/>
            <a:ahLst/>
            <a:cxnLst/>
            <a:rect l="l" t="t" r="r" b="b"/>
            <a:pathLst>
              <a:path w="1524000" h="2057400">
                <a:moveTo>
                  <a:pt x="1333500" y="2057400"/>
                </a:moveTo>
                <a:lnTo>
                  <a:pt x="1371600" y="1905000"/>
                </a:lnTo>
                <a:lnTo>
                  <a:pt x="1524000" y="1866900"/>
                </a:lnTo>
                <a:lnTo>
                  <a:pt x="1333500" y="2057400"/>
                </a:lnTo>
                <a:lnTo>
                  <a:pt x="0" y="2057400"/>
                </a:lnTo>
                <a:lnTo>
                  <a:pt x="0" y="0"/>
                </a:lnTo>
                <a:lnTo>
                  <a:pt x="1524000" y="0"/>
                </a:lnTo>
                <a:lnTo>
                  <a:pt x="1524000" y="18669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269872" y="1915921"/>
            <a:ext cx="1482090" cy="1840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2705" algn="ctr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Invoice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tabLst>
                <a:tab pos="511175" algn="l"/>
                <a:tab pos="1075055" algn="l"/>
                <a:tab pos="1456055" algn="l"/>
              </a:tabLst>
            </a:pP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dirty="0">
                <a:latin typeface="Times New Roman"/>
                <a:cs typeface="Times New Roman"/>
              </a:rPr>
              <a:t>_ </a:t>
            </a:r>
            <a:r>
              <a:rPr sz="2000" spc="-5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spc="1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tabLst>
                <a:tab pos="511175" algn="l"/>
                <a:tab pos="1075055" algn="l"/>
                <a:tab pos="1456055" algn="l"/>
              </a:tabLst>
            </a:pP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dirty="0">
                <a:latin typeface="Times New Roman"/>
                <a:cs typeface="Times New Roman"/>
              </a:rPr>
              <a:t>_ </a:t>
            </a:r>
            <a:r>
              <a:rPr sz="2000" spc="-5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spc="1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tabLst>
                <a:tab pos="511175" algn="l"/>
                <a:tab pos="1075055" algn="l"/>
                <a:tab pos="1456055" algn="l"/>
              </a:tabLst>
            </a:pP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dirty="0">
                <a:latin typeface="Times New Roman"/>
                <a:cs typeface="Times New Roman"/>
              </a:rPr>
              <a:t>_ </a:t>
            </a:r>
            <a:r>
              <a:rPr sz="2000" spc="-5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spc="1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tabLst>
                <a:tab pos="511175" algn="l"/>
                <a:tab pos="1075055" algn="l"/>
                <a:tab pos="1456055" algn="l"/>
              </a:tabLst>
            </a:pP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dirty="0">
                <a:latin typeface="Times New Roman"/>
                <a:cs typeface="Times New Roman"/>
              </a:rPr>
              <a:t>_ </a:t>
            </a:r>
            <a:r>
              <a:rPr sz="2000" spc="-5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spc="1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endParaRPr sz="20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tabLst>
                <a:tab pos="511175" algn="l"/>
                <a:tab pos="1075055" algn="l"/>
                <a:tab pos="1456055" algn="l"/>
              </a:tabLst>
            </a:pP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dirty="0">
                <a:latin typeface="Times New Roman"/>
                <a:cs typeface="Times New Roman"/>
              </a:rPr>
              <a:t>_ </a:t>
            </a:r>
            <a:r>
              <a:rPr sz="2000" spc="-5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r>
              <a:rPr sz="2000" spc="10" dirty="0">
                <a:latin typeface="Times New Roman"/>
                <a:cs typeface="Times New Roman"/>
              </a:rPr>
              <a:t> </a:t>
            </a:r>
            <a:r>
              <a:rPr sz="2000" u="sng" dirty="0">
                <a:latin typeface="Times New Roman"/>
                <a:cs typeface="Times New Roman"/>
              </a:rPr>
              <a:t> 	</a:t>
            </a:r>
            <a:endParaRPr sz="20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6006084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70" dirty="0"/>
              <a:t> </a:t>
            </a:r>
            <a:r>
              <a:rPr dirty="0"/>
              <a:t>Billing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383540" y="4536313"/>
            <a:ext cx="3604895" cy="1382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VF01 – Create </a:t>
            </a: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  VF02 – Change </a:t>
            </a:r>
            <a:r>
              <a:rPr sz="1800" b="1" dirty="0">
                <a:latin typeface="Arial"/>
                <a:cs typeface="Arial"/>
              </a:rPr>
              <a:t>Billing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ocument  VF03 – Display </a:t>
            </a: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  VF04 </a:t>
            </a:r>
            <a:r>
              <a:rPr sz="1800" b="1" dirty="0">
                <a:latin typeface="Arial"/>
                <a:cs typeface="Arial"/>
              </a:rPr>
              <a:t>– </a:t>
            </a:r>
            <a:r>
              <a:rPr sz="1800" b="1" spc="-5" dirty="0">
                <a:latin typeface="Arial"/>
                <a:cs typeface="Arial"/>
              </a:rPr>
              <a:t>Process </a:t>
            </a:r>
            <a:r>
              <a:rPr sz="1800" b="1" dirty="0">
                <a:latin typeface="Arial"/>
                <a:cs typeface="Arial"/>
              </a:rPr>
              <a:t>Billing Due List  </a:t>
            </a:r>
            <a:r>
              <a:rPr sz="1800" b="1" spc="-30" dirty="0">
                <a:latin typeface="Arial"/>
                <a:cs typeface="Arial"/>
              </a:rPr>
              <a:t>VF11 </a:t>
            </a:r>
            <a:r>
              <a:rPr sz="1800" b="1" spc="-5" dirty="0">
                <a:latin typeface="Arial"/>
                <a:cs typeface="Arial"/>
              </a:rPr>
              <a:t>– Cancel </a:t>
            </a:r>
            <a:r>
              <a:rPr sz="1800" b="1" dirty="0">
                <a:latin typeface="Arial"/>
                <a:cs typeface="Arial"/>
              </a:rPr>
              <a:t>Billing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ocume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09599" y="1447800"/>
            <a:ext cx="3733825" cy="25590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497833" y="1447800"/>
            <a:ext cx="3884168" cy="25908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4578477" y="4536313"/>
            <a:ext cx="4162425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document can </a:t>
            </a:r>
            <a:r>
              <a:rPr sz="1800" b="1" dirty="0">
                <a:latin typeface="Arial"/>
                <a:cs typeface="Arial"/>
              </a:rPr>
              <a:t>only be </a:t>
            </a:r>
            <a:r>
              <a:rPr sz="1800" b="1" spc="-5" dirty="0">
                <a:latin typeface="Arial"/>
                <a:cs typeface="Arial"/>
              </a:rPr>
              <a:t>created  </a:t>
            </a:r>
            <a:r>
              <a:rPr sz="1800" b="1" spc="5" dirty="0">
                <a:latin typeface="Arial"/>
                <a:cs typeface="Arial"/>
              </a:rPr>
              <a:t>with </a:t>
            </a:r>
            <a:r>
              <a:rPr sz="1800" b="1" spc="-5" dirty="0">
                <a:latin typeface="Arial"/>
                <a:cs typeface="Arial"/>
              </a:rPr>
              <a:t>reference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either a </a:t>
            </a:r>
            <a:r>
              <a:rPr sz="1800" b="1" spc="-10" dirty="0">
                <a:latin typeface="Arial"/>
                <a:cs typeface="Arial"/>
              </a:rPr>
              <a:t>Delivery </a:t>
            </a:r>
            <a:r>
              <a:rPr sz="1800" b="1" spc="-5" dirty="0">
                <a:latin typeface="Arial"/>
                <a:cs typeface="Arial"/>
              </a:rPr>
              <a:t>or a  Sales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Order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8532876" y="274320"/>
            <a:ext cx="611124" cy="8199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-76239" y="217065"/>
            <a:ext cx="9143999" cy="1002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z="4000" spc="-5" dirty="0"/>
              <a:t>Sales Process – Credit/Debit</a:t>
            </a:r>
            <a:r>
              <a:rPr sz="4000" spc="45" dirty="0"/>
              <a:t> </a:t>
            </a:r>
            <a:r>
              <a:rPr sz="4000" spc="-5" dirty="0"/>
              <a:t>Memo</a:t>
            </a:r>
            <a:endParaRPr sz="4000" dirty="0"/>
          </a:p>
        </p:txBody>
      </p:sp>
      <p:sp>
        <p:nvSpPr>
          <p:cNvPr id="8" name="object 8"/>
          <p:cNvSpPr/>
          <p:nvPr/>
        </p:nvSpPr>
        <p:spPr>
          <a:xfrm>
            <a:off x="762000" y="1524000"/>
            <a:ext cx="3733761" cy="275907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651629" y="1524000"/>
            <a:ext cx="3881248" cy="27559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99999" y="4419600"/>
            <a:ext cx="8303260" cy="19851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buFont typeface="Arial"/>
              <a:buChar char="•"/>
              <a:tabLst>
                <a:tab pos="139700" algn="l"/>
              </a:tabLst>
            </a:pPr>
            <a:r>
              <a:rPr sz="1600" b="1" spc="-5" dirty="0">
                <a:latin typeface="Arial"/>
                <a:cs typeface="Arial"/>
              </a:rPr>
              <a:t>Credit and Debit Memos are first created as Sales Documents (Credit and Debit  Memo Requests) and then are </a:t>
            </a:r>
            <a:r>
              <a:rPr sz="1600" b="1" spc="-10" dirty="0">
                <a:latin typeface="Arial"/>
                <a:cs typeface="Arial"/>
              </a:rPr>
              <a:t>Invoiced </a:t>
            </a:r>
            <a:r>
              <a:rPr sz="1600" b="1" spc="-5" dirty="0">
                <a:latin typeface="Arial"/>
                <a:cs typeface="Arial"/>
              </a:rPr>
              <a:t>through (Credit and Debit</a:t>
            </a:r>
            <a:r>
              <a:rPr sz="1600" b="1" spc="2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Memos).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  <a:buFont typeface="Arial"/>
              <a:buChar char="•"/>
            </a:pPr>
            <a:endParaRPr sz="1650" dirty="0">
              <a:latin typeface="Times New Roman"/>
              <a:cs typeface="Times New Roman"/>
            </a:endParaRPr>
          </a:p>
          <a:p>
            <a:pPr marL="139065" indent="-126364">
              <a:lnSpc>
                <a:spcPct val="100000"/>
              </a:lnSpc>
              <a:buFont typeface="Arial"/>
              <a:buChar char="•"/>
              <a:tabLst>
                <a:tab pos="139700" algn="l"/>
              </a:tabLst>
            </a:pPr>
            <a:r>
              <a:rPr sz="1600" b="1" spc="-5" dirty="0">
                <a:latin typeface="Arial"/>
                <a:cs typeface="Arial"/>
              </a:rPr>
              <a:t>It is possible to create these independently or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5" dirty="0">
                <a:latin typeface="Arial"/>
                <a:cs typeface="Arial"/>
              </a:rPr>
              <a:t>reference to</a:t>
            </a:r>
            <a:r>
              <a:rPr sz="1600" b="1" spc="21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previous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transactions.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650" dirty="0">
              <a:latin typeface="Times New Roman"/>
              <a:cs typeface="Times New Roman"/>
            </a:endParaRPr>
          </a:p>
          <a:p>
            <a:pPr marL="12700" marR="540385">
              <a:lnSpc>
                <a:spcPct val="100000"/>
              </a:lnSpc>
              <a:buFont typeface="Arial"/>
              <a:buChar char="•"/>
              <a:tabLst>
                <a:tab pos="139700" algn="l"/>
              </a:tabLst>
            </a:pPr>
            <a:r>
              <a:rPr sz="1600" b="1" spc="-5" dirty="0">
                <a:latin typeface="Arial"/>
                <a:cs typeface="Arial"/>
              </a:rPr>
              <a:t>It is possible to apply a Billing block on Sales Orders – generally used </a:t>
            </a:r>
            <a:r>
              <a:rPr sz="1600" b="1" spc="-10" dirty="0">
                <a:latin typeface="Arial"/>
                <a:cs typeface="Arial"/>
              </a:rPr>
              <a:t>for  </a:t>
            </a:r>
            <a:r>
              <a:rPr sz="1600" b="1" spc="-5" dirty="0">
                <a:latin typeface="Arial"/>
                <a:cs typeface="Arial"/>
              </a:rPr>
              <a:t>Credit Memo Request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Orders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6597395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Process -</a:t>
            </a:r>
            <a:r>
              <a:rPr spc="-70" dirty="0"/>
              <a:t> </a:t>
            </a:r>
            <a:r>
              <a:rPr spc="-30" dirty="0"/>
              <a:t>Tracking</a:t>
            </a:r>
          </a:p>
        </p:txBody>
      </p:sp>
      <p:sp>
        <p:nvSpPr>
          <p:cNvPr id="8" name="object 8"/>
          <p:cNvSpPr/>
          <p:nvPr/>
        </p:nvSpPr>
        <p:spPr>
          <a:xfrm>
            <a:off x="535940" y="1447800"/>
            <a:ext cx="5140960" cy="2895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870828" y="1256538"/>
            <a:ext cx="2653665" cy="3060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25145">
              <a:lnSpc>
                <a:spcPct val="100000"/>
              </a:lnSpc>
              <a:buSzPct val="90000"/>
              <a:buChar char="•"/>
              <a:tabLst>
                <a:tab pos="147320" algn="l"/>
              </a:tabLst>
            </a:pPr>
            <a:r>
              <a:rPr sz="2000" dirty="0">
                <a:latin typeface="Times New Roman"/>
                <a:cs typeface="Times New Roman"/>
              </a:rPr>
              <a:t>Documents in</a:t>
            </a:r>
            <a:r>
              <a:rPr sz="2000" spc="-100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imes New Roman"/>
                <a:cs typeface="Times New Roman"/>
              </a:rPr>
              <a:t>sales  </a:t>
            </a:r>
            <a:r>
              <a:rPr sz="2000" dirty="0">
                <a:latin typeface="Times New Roman"/>
                <a:cs typeface="Times New Roman"/>
              </a:rPr>
              <a:t>process are</a:t>
            </a:r>
            <a:r>
              <a:rPr sz="2000" spc="-13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linked</a:t>
            </a:r>
            <a:endParaRPr sz="2000">
              <a:latin typeface="Times New Roman"/>
              <a:cs typeface="Times New Roman"/>
            </a:endParaRPr>
          </a:p>
          <a:p>
            <a:pPr marL="12700" marR="5080" indent="6223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to each other through  Document </a:t>
            </a:r>
            <a:r>
              <a:rPr sz="2000" spc="-25" dirty="0">
                <a:latin typeface="Times New Roman"/>
                <a:cs typeface="Times New Roman"/>
              </a:rPr>
              <a:t>flow. </a:t>
            </a:r>
            <a:r>
              <a:rPr sz="2000" spc="-65" dirty="0">
                <a:latin typeface="Times New Roman"/>
                <a:cs typeface="Times New Roman"/>
              </a:rPr>
              <a:t>You </a:t>
            </a:r>
            <a:r>
              <a:rPr sz="2000" dirty="0">
                <a:latin typeface="Times New Roman"/>
                <a:cs typeface="Times New Roman"/>
              </a:rPr>
              <a:t>can  access history and</a:t>
            </a:r>
            <a:r>
              <a:rPr sz="2000" spc="-14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current  </a:t>
            </a:r>
            <a:r>
              <a:rPr sz="2000" spc="-5" dirty="0">
                <a:latin typeface="Times New Roman"/>
                <a:cs typeface="Times New Roman"/>
              </a:rPr>
              <a:t>status </a:t>
            </a:r>
            <a:r>
              <a:rPr sz="2000" dirty="0">
                <a:latin typeface="Times New Roman"/>
                <a:cs typeface="Times New Roman"/>
              </a:rPr>
              <a:t>of the </a:t>
            </a:r>
            <a:r>
              <a:rPr sz="2000" spc="-5" dirty="0">
                <a:latin typeface="Times New Roman"/>
                <a:cs typeface="Times New Roman"/>
              </a:rPr>
              <a:t>sales </a:t>
            </a:r>
            <a:r>
              <a:rPr sz="2000" dirty="0">
                <a:latin typeface="Times New Roman"/>
                <a:cs typeface="Times New Roman"/>
              </a:rPr>
              <a:t>process  at any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spc="-10" dirty="0">
                <a:latin typeface="Times New Roman"/>
                <a:cs typeface="Times New Roman"/>
              </a:rPr>
              <a:t>time</a:t>
            </a:r>
            <a:endParaRPr sz="2000">
              <a:latin typeface="Times New Roman"/>
              <a:cs typeface="Times New Roman"/>
            </a:endParaRPr>
          </a:p>
          <a:p>
            <a:pPr marL="12700" marR="342265">
              <a:lnSpc>
                <a:spcPct val="100000"/>
              </a:lnSpc>
              <a:buChar char="•"/>
              <a:tabLst>
                <a:tab pos="148590" algn="l"/>
              </a:tabLst>
            </a:pPr>
            <a:r>
              <a:rPr sz="2000" dirty="0">
                <a:latin typeface="Times New Roman"/>
                <a:cs typeface="Times New Roman"/>
              </a:rPr>
              <a:t>All preceding and  succeeding</a:t>
            </a:r>
            <a:r>
              <a:rPr sz="2000" spc="-12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documents  can be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displayed.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108575" y="5021198"/>
            <a:ext cx="2875915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spc="-40" dirty="0">
                <a:latin typeface="Arial"/>
                <a:cs typeface="Arial"/>
              </a:rPr>
              <a:t>VA25 </a:t>
            </a:r>
            <a:r>
              <a:rPr sz="2000" dirty="0">
                <a:latin typeface="Arial"/>
                <a:cs typeface="Arial"/>
              </a:rPr>
              <a:t>– List of quotations  VL06F – List of</a:t>
            </a:r>
            <a:r>
              <a:rPr sz="2000" spc="-13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deliveries</a:t>
            </a:r>
            <a:endParaRPr sz="20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5940" y="4716398"/>
            <a:ext cx="3542029" cy="1229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Reports</a:t>
            </a:r>
            <a:endParaRPr sz="2000">
              <a:latin typeface="Arial"/>
              <a:cs typeface="Arial"/>
            </a:endParaRPr>
          </a:p>
          <a:p>
            <a:pPr marL="12700" marR="635635">
              <a:lnSpc>
                <a:spcPct val="100000"/>
              </a:lnSpc>
            </a:pPr>
            <a:r>
              <a:rPr sz="2000" spc="-40" dirty="0">
                <a:latin typeface="Arial"/>
                <a:cs typeface="Arial"/>
              </a:rPr>
              <a:t>VA15 </a:t>
            </a:r>
            <a:r>
              <a:rPr sz="2000" dirty="0">
                <a:latin typeface="Arial"/>
                <a:cs typeface="Arial"/>
              </a:rPr>
              <a:t>– List of inquiries  </a:t>
            </a:r>
            <a:r>
              <a:rPr sz="2000" spc="-40" dirty="0">
                <a:latin typeface="Arial"/>
                <a:cs typeface="Arial"/>
              </a:rPr>
              <a:t>VA05 </a:t>
            </a:r>
            <a:r>
              <a:rPr sz="2000" dirty="0">
                <a:latin typeface="Arial"/>
                <a:cs typeface="Arial"/>
              </a:rPr>
              <a:t>– List of sales</a:t>
            </a:r>
            <a:r>
              <a:rPr sz="2000" spc="-9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order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tabLst>
                <a:tab pos="759460" algn="l"/>
              </a:tabLst>
            </a:pPr>
            <a:r>
              <a:rPr sz="2000" dirty="0">
                <a:latin typeface="Arial"/>
                <a:cs typeface="Arial"/>
              </a:rPr>
              <a:t>VF05	- List of Billing</a:t>
            </a:r>
            <a:r>
              <a:rPr sz="2000" spc="-10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document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623060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LetMe</a:t>
            </a: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603250" y="1212850"/>
          <a:ext cx="8001000" cy="48767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79901"/>
                <a:gridCol w="4221099"/>
              </a:tblGrid>
              <a:tr h="365760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Inpu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121666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Expected</a:t>
                      </a:r>
                      <a:r>
                        <a:rPr sz="180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Resul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</a:tr>
              <a:tr h="731519">
                <a:tc>
                  <a:txBody>
                    <a:bodyPr/>
                    <a:lstStyle/>
                    <a:p>
                      <a:pPr marL="85090" marR="9461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all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Transaction </a:t>
                      </a:r>
                      <a:r>
                        <a:rPr sz="1400" b="1" spc="-40" dirty="0">
                          <a:latin typeface="Arial"/>
                          <a:cs typeface="Arial"/>
                        </a:rPr>
                        <a:t>VA03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r 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menu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path  Logistics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ales&amp;Distribution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ales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endParaRPr sz="14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‘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 Order : Initial screen’</a:t>
                      </a:r>
                      <a:r>
                        <a:rPr sz="1400" b="1" spc="-2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ppear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5849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Press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enter or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click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n th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Green</a:t>
                      </a:r>
                      <a:r>
                        <a:rPr sz="1400" b="1" spc="-1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ick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 marR="212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zzz Sales Order xxx :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verview</a:t>
                      </a:r>
                      <a:r>
                        <a:rPr sz="1400" b="1" spc="-1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creen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ppears.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 marR="290195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the Header information such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as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Required Delivery Date, Delivering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Plant, 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Payment </a:t>
                      </a:r>
                      <a:r>
                        <a:rPr sz="1400" b="1" spc="-20" dirty="0">
                          <a:latin typeface="Arial"/>
                          <a:cs typeface="Arial"/>
                        </a:rPr>
                        <a:t>Terms,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Area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Item details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uch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as materials, </a:t>
                      </a:r>
                      <a:r>
                        <a:rPr sz="1400" b="1" spc="-20" dirty="0">
                          <a:latin typeface="Arial"/>
                          <a:cs typeface="Arial"/>
                        </a:rPr>
                        <a:t>quantity,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escription,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Item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Categor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rdering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Party</a:t>
                      </a:r>
                      <a:r>
                        <a:rPr sz="1400" b="1" spc="-1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b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 marR="9023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Customer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Material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Number</a:t>
                      </a:r>
                      <a:r>
                        <a:rPr sz="1400" b="1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nd  descriptio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94488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400" b="1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Goto</a:t>
                      </a:r>
                      <a:r>
                        <a:rPr sz="1400" b="1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Header</a:t>
                      </a:r>
                      <a:r>
                        <a:rPr sz="1400" b="1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 marR="48895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‘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zzz Sales Order xxx :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Header</a:t>
                      </a:r>
                      <a:r>
                        <a:rPr sz="1400" b="1" spc="-1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ata’ 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creen</a:t>
                      </a:r>
                      <a:r>
                        <a:rPr sz="1400" b="1" spc="-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ppears.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 marR="577215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Administrative information such</a:t>
                      </a:r>
                      <a:r>
                        <a:rPr sz="1400" b="1" spc="-1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as  Order </a:t>
                      </a:r>
                      <a:r>
                        <a:rPr sz="1400" b="1" spc="-35" dirty="0">
                          <a:latin typeface="Arial"/>
                          <a:cs typeface="Arial"/>
                        </a:rPr>
                        <a:t>Type,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Created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b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&amp;</a:t>
                      </a:r>
                      <a:r>
                        <a:rPr sz="1400" b="1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n,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731519">
                <a:tc>
                  <a:txBody>
                    <a:bodyPr/>
                    <a:lstStyle/>
                    <a:p>
                      <a:pPr marL="85090" marR="160845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G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back and Navigate</a:t>
                      </a:r>
                      <a:r>
                        <a:rPr sz="1400" b="1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Goto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Item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ale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 marR="11303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‘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zzz Sales Order xxx : Item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ata’</a:t>
                      </a:r>
                      <a:r>
                        <a:rPr sz="1400" b="1" spc="-2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creen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ppears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Material Entered &amp;</a:t>
                      </a:r>
                      <a:r>
                        <a:rPr sz="1400" b="1" spc="-1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Usag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623060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LetMe</a:t>
            </a: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679450" y="1289050"/>
          <a:ext cx="7924800" cy="48158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40201"/>
                <a:gridCol w="4284599"/>
              </a:tblGrid>
              <a:tr h="3657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Inpu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Expected</a:t>
                      </a:r>
                      <a:r>
                        <a:rPr sz="18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Resul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CC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Goto Conditions</a:t>
                      </a:r>
                      <a:r>
                        <a:rPr sz="1400" b="1" spc="-1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b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53467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prices,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iscounts,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xes. See</a:t>
                      </a:r>
                      <a:r>
                        <a:rPr sz="1400" b="1" spc="-1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pricing 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Analysis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Got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chedul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lines</a:t>
                      </a:r>
                      <a:r>
                        <a:rPr sz="1400" b="1" spc="-1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b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Delivery Dates &amp;</a:t>
                      </a:r>
                      <a:r>
                        <a:rPr sz="1400" b="1" spc="-1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Quantit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Goto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Partners</a:t>
                      </a:r>
                      <a:r>
                        <a:rPr sz="1400" b="1" spc="-1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b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default</a:t>
                      </a:r>
                      <a:r>
                        <a:rPr sz="1400" b="1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partner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5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Goto </a:t>
                      </a:r>
                      <a:r>
                        <a:rPr sz="1400" b="1" spc="-25" dirty="0">
                          <a:latin typeface="Arial"/>
                          <a:cs typeface="Arial"/>
                        </a:rPr>
                        <a:t>Texts</a:t>
                      </a:r>
                      <a:r>
                        <a:rPr sz="1400" b="1" spc="-1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ab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4787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</a:t>
                      </a:r>
                      <a:r>
                        <a:rPr sz="1400" b="1" spc="5" dirty="0">
                          <a:latin typeface="Arial"/>
                          <a:cs typeface="Arial"/>
                        </a:rPr>
                        <a:t>which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exts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have been copied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&amp;</a:t>
                      </a:r>
                      <a:r>
                        <a:rPr sz="1400" b="1" spc="-1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from 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wher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85090" marR="1866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Partner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isplay Sold-to 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part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1485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customer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details in General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ata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&amp;</a:t>
                      </a:r>
                      <a:r>
                        <a:rPr sz="1400" b="1" spc="-1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 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Area</a:t>
                      </a:r>
                      <a:r>
                        <a:rPr sz="140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ata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60">
                <a:tc>
                  <a:txBody>
                    <a:bodyPr/>
                    <a:lstStyle/>
                    <a:p>
                      <a:pPr marL="85090" marR="922019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G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back and 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isplay</a:t>
                      </a:r>
                      <a:r>
                        <a:rPr sz="1400" b="1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Material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11430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th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details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n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400" b="1" spc="5" dirty="0">
                          <a:latin typeface="Arial"/>
                          <a:cs typeface="Arial"/>
                        </a:rPr>
                        <a:t>views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Basic</a:t>
                      </a:r>
                      <a:r>
                        <a:rPr sz="1400" b="1" spc="-2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ata 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view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5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Go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back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3</a:t>
                      </a:r>
                      <a:r>
                        <a:rPr sz="1400" b="1" spc="-1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ime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58420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4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are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now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at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Sales Order :</a:t>
                      </a:r>
                      <a:r>
                        <a:rPr sz="1400" b="1" spc="-1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Initial  scree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6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Navigat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 Sales</a:t>
                      </a:r>
                      <a:r>
                        <a:rPr sz="140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ocument</a:t>
                      </a:r>
                      <a:r>
                        <a:rPr sz="1400" b="1" spc="-5" dirty="0">
                          <a:latin typeface="Wingdings"/>
                          <a:cs typeface="Wingdings"/>
                        </a:rPr>
                        <a:t>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Issue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Output</a:t>
                      </a:r>
                      <a:r>
                        <a:rPr sz="1400" b="1" spc="-1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400" b="1" dirty="0">
                          <a:latin typeface="Wingdings"/>
                          <a:cs typeface="Wingdings"/>
                        </a:rPr>
                        <a:t></a:t>
                      </a:r>
                      <a:endParaRPr sz="1400">
                        <a:latin typeface="Wingdings"/>
                        <a:cs typeface="Wingdings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Check the print preview of</a:t>
                      </a:r>
                      <a:r>
                        <a:rPr sz="1400" b="1" spc="-1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Order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725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Acknowledgement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518159">
                <a:tc>
                  <a:txBody>
                    <a:bodyPr/>
                    <a:lstStyle/>
                    <a:p>
                      <a:pPr marL="85090" marR="70040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Go back.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Click the document</a:t>
                      </a:r>
                      <a:r>
                        <a:rPr sz="1400" b="1" spc="-1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flow  button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725" marR="24828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400" b="1" spc="-15" dirty="0">
                          <a:latin typeface="Arial"/>
                          <a:cs typeface="Arial"/>
                        </a:rPr>
                        <a:t>All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the preceding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*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subsequent documents </a:t>
                      </a:r>
                      <a:r>
                        <a:rPr sz="1400" b="1" spc="5" dirty="0">
                          <a:latin typeface="Arial"/>
                          <a:cs typeface="Arial"/>
                        </a:rPr>
                        <a:t>will 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listed.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each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400" b="1" spc="-1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these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4067555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spc="-20" dirty="0"/>
              <a:t>Tips </a:t>
            </a:r>
            <a:r>
              <a:rPr dirty="0"/>
              <a:t>and</a:t>
            </a:r>
            <a:r>
              <a:rPr spc="-60" dirty="0"/>
              <a:t> </a:t>
            </a:r>
            <a:r>
              <a:rPr spc="-40" dirty="0"/>
              <a:t>Tricks</a:t>
            </a:r>
          </a:p>
        </p:txBody>
      </p:sp>
      <p:sp>
        <p:nvSpPr>
          <p:cNvPr id="5" name="object 5"/>
          <p:cNvSpPr/>
          <p:nvPr/>
        </p:nvSpPr>
        <p:spPr>
          <a:xfrm>
            <a:off x="4288535" y="1638300"/>
            <a:ext cx="574548" cy="5821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364735" y="2103120"/>
            <a:ext cx="377951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39648" y="1423161"/>
            <a:ext cx="8592185" cy="4857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  <a:buFont typeface="Arial"/>
              <a:buChar char="•"/>
              <a:tabLst>
                <a:tab pos="156845" algn="l"/>
              </a:tabLst>
            </a:pPr>
            <a:r>
              <a:rPr sz="1800" b="1" spc="-20" dirty="0">
                <a:latin typeface="Arial"/>
                <a:cs typeface="Arial"/>
              </a:rPr>
              <a:t>Verkauf </a:t>
            </a:r>
            <a:r>
              <a:rPr sz="1800" b="1" dirty="0">
                <a:latin typeface="Arial"/>
                <a:cs typeface="Arial"/>
              </a:rPr>
              <a:t>is a </a:t>
            </a:r>
            <a:r>
              <a:rPr sz="1800" b="1" spc="-5" dirty="0">
                <a:latin typeface="Arial"/>
                <a:cs typeface="Arial"/>
              </a:rPr>
              <a:t>German </a:t>
            </a:r>
            <a:r>
              <a:rPr sz="1800" b="1" spc="5" dirty="0">
                <a:latin typeface="Arial"/>
                <a:cs typeface="Arial"/>
              </a:rPr>
              <a:t>word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Sale. Most </a:t>
            </a:r>
            <a:r>
              <a:rPr sz="1800" b="1" dirty="0">
                <a:latin typeface="Arial"/>
                <a:cs typeface="Arial"/>
              </a:rPr>
              <a:t>SD </a:t>
            </a:r>
            <a:r>
              <a:rPr sz="1800" b="1" spc="-5" dirty="0">
                <a:latin typeface="Arial"/>
                <a:cs typeface="Arial"/>
              </a:rPr>
              <a:t>transactions codes </a:t>
            </a:r>
            <a:r>
              <a:rPr sz="1800" b="1" dirty="0">
                <a:latin typeface="Arial"/>
                <a:cs typeface="Arial"/>
              </a:rPr>
              <a:t>&amp; </a:t>
            </a:r>
            <a:r>
              <a:rPr sz="1800" b="1" spc="-5" dirty="0">
                <a:latin typeface="Arial"/>
                <a:cs typeface="Arial"/>
              </a:rPr>
              <a:t>tables</a:t>
            </a:r>
            <a:r>
              <a:rPr sz="1800" b="1" spc="15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tart</a:t>
            </a:r>
            <a:endParaRPr sz="1800">
              <a:latin typeface="Arial"/>
              <a:cs typeface="Arial"/>
            </a:endParaRPr>
          </a:p>
          <a:p>
            <a:pPr marL="12700" algn="just">
              <a:lnSpc>
                <a:spcPct val="100000"/>
              </a:lnSpc>
            </a:pPr>
            <a:r>
              <a:rPr sz="1800" b="1" spc="5" dirty="0">
                <a:latin typeface="Arial"/>
                <a:cs typeface="Arial"/>
              </a:rPr>
              <a:t>with</a:t>
            </a:r>
            <a:r>
              <a:rPr sz="1800" b="1" spc="-13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‘V’.</a:t>
            </a:r>
            <a:endParaRPr sz="180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5"/>
              </a:spcBef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600" b="1" spc="-5" dirty="0">
                <a:latin typeface="Arial"/>
                <a:cs typeface="Arial"/>
              </a:rPr>
              <a:t>If a transaction ends in 1 </a:t>
            </a:r>
            <a:r>
              <a:rPr sz="1600" b="1" spc="-15" dirty="0">
                <a:latin typeface="Arial"/>
                <a:cs typeface="Arial"/>
              </a:rPr>
              <a:t>(01,11, </a:t>
            </a:r>
            <a:r>
              <a:rPr sz="1600" b="1" spc="-5" dirty="0">
                <a:latin typeface="Arial"/>
                <a:cs typeface="Arial"/>
              </a:rPr>
              <a:t>21, etc) it </a:t>
            </a:r>
            <a:r>
              <a:rPr sz="1600" b="1" spc="5" dirty="0">
                <a:latin typeface="Arial"/>
                <a:cs typeface="Arial"/>
              </a:rPr>
              <a:t>will </a:t>
            </a:r>
            <a:r>
              <a:rPr sz="1600" b="1" spc="-5" dirty="0">
                <a:latin typeface="Arial"/>
                <a:cs typeface="Arial"/>
              </a:rPr>
              <a:t>always be a </a:t>
            </a:r>
            <a:r>
              <a:rPr sz="1600" b="1" spc="-35" dirty="0">
                <a:latin typeface="Arial"/>
                <a:cs typeface="Arial"/>
              </a:rPr>
              <a:t>CREATE</a:t>
            </a:r>
            <a:r>
              <a:rPr sz="1600" b="1" spc="30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ransaction.</a:t>
            </a:r>
            <a:endParaRPr sz="1600">
              <a:latin typeface="Arial"/>
              <a:cs typeface="Arial"/>
            </a:endParaRPr>
          </a:p>
          <a:p>
            <a:pPr marL="1155700" lvl="2" indent="-228600">
              <a:lnSpc>
                <a:spcPts val="1440"/>
              </a:lnSpc>
              <a:buFont typeface="Arial"/>
              <a:buChar char="•"/>
              <a:tabLst>
                <a:tab pos="1155700" algn="l"/>
                <a:tab pos="1156335" algn="l"/>
              </a:tabLst>
            </a:pPr>
            <a:r>
              <a:rPr sz="1200" b="1" spc="-5" dirty="0">
                <a:latin typeface="Arial"/>
                <a:cs typeface="Arial"/>
              </a:rPr>
              <a:t>E.g. </a:t>
            </a:r>
            <a:r>
              <a:rPr sz="1200" b="1" spc="-35" dirty="0">
                <a:latin typeface="Arial"/>
                <a:cs typeface="Arial"/>
              </a:rPr>
              <a:t>VA01 </a:t>
            </a:r>
            <a:r>
              <a:rPr sz="1200" b="1" spc="-5" dirty="0">
                <a:latin typeface="Arial"/>
                <a:cs typeface="Arial"/>
              </a:rPr>
              <a:t>– </a:t>
            </a:r>
            <a:r>
              <a:rPr sz="1200" b="1" dirty="0">
                <a:latin typeface="Arial"/>
                <a:cs typeface="Arial"/>
              </a:rPr>
              <a:t>Create Sales </a:t>
            </a:r>
            <a:r>
              <a:rPr sz="1200" b="1" spc="-10" dirty="0">
                <a:latin typeface="Arial"/>
                <a:cs typeface="Arial"/>
              </a:rPr>
              <a:t>Order, </a:t>
            </a:r>
            <a:r>
              <a:rPr sz="1200" b="1" spc="-35" dirty="0">
                <a:latin typeface="Arial"/>
                <a:cs typeface="Arial"/>
              </a:rPr>
              <a:t>VA21 </a:t>
            </a:r>
            <a:r>
              <a:rPr sz="1200" b="1" spc="-5" dirty="0">
                <a:latin typeface="Arial"/>
                <a:cs typeface="Arial"/>
              </a:rPr>
              <a:t>– </a:t>
            </a:r>
            <a:r>
              <a:rPr sz="1200" b="1" dirty="0">
                <a:latin typeface="Arial"/>
                <a:cs typeface="Arial"/>
              </a:rPr>
              <a:t>Create </a:t>
            </a:r>
            <a:r>
              <a:rPr sz="1200" b="1" spc="-5" dirty="0">
                <a:latin typeface="Arial"/>
                <a:cs typeface="Arial"/>
              </a:rPr>
              <a:t>Quotation,</a:t>
            </a:r>
            <a:r>
              <a:rPr sz="1200" b="1" spc="7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c.</a:t>
            </a:r>
            <a:endParaRPr sz="1200">
              <a:latin typeface="Arial"/>
              <a:cs typeface="Arial"/>
            </a:endParaRPr>
          </a:p>
          <a:p>
            <a:pPr marL="756285" lvl="1" indent="-286385">
              <a:lnSpc>
                <a:spcPts val="1920"/>
              </a:lnSpc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600" b="1" spc="-5" dirty="0">
                <a:latin typeface="Arial"/>
                <a:cs typeface="Arial"/>
              </a:rPr>
              <a:t>If a transaction ends in 2 (02, 12, 22, etc), it </a:t>
            </a:r>
            <a:r>
              <a:rPr sz="1600" b="1" spc="5" dirty="0">
                <a:latin typeface="Arial"/>
                <a:cs typeface="Arial"/>
              </a:rPr>
              <a:t>will </a:t>
            </a:r>
            <a:r>
              <a:rPr sz="1600" b="1" spc="-5" dirty="0">
                <a:latin typeface="Arial"/>
                <a:cs typeface="Arial"/>
              </a:rPr>
              <a:t>always be a </a:t>
            </a:r>
            <a:r>
              <a:rPr sz="1600" b="1" spc="-10" dirty="0">
                <a:latin typeface="Arial"/>
                <a:cs typeface="Arial"/>
              </a:rPr>
              <a:t>CHANGE</a:t>
            </a:r>
            <a:r>
              <a:rPr sz="1600" b="1" spc="30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ransaction</a:t>
            </a:r>
            <a:endParaRPr sz="1600">
              <a:latin typeface="Arial"/>
              <a:cs typeface="Arial"/>
            </a:endParaRPr>
          </a:p>
          <a:p>
            <a:pPr marL="1155700" lvl="2" indent="-228600">
              <a:lnSpc>
                <a:spcPts val="1440"/>
              </a:lnSpc>
              <a:buFont typeface="Arial"/>
              <a:buChar char="•"/>
              <a:tabLst>
                <a:tab pos="1155700" algn="l"/>
                <a:tab pos="1156335" algn="l"/>
              </a:tabLst>
            </a:pPr>
            <a:r>
              <a:rPr sz="1200" b="1" spc="-5" dirty="0">
                <a:latin typeface="Arial"/>
                <a:cs typeface="Arial"/>
              </a:rPr>
              <a:t>E.g. </a:t>
            </a:r>
            <a:r>
              <a:rPr sz="1200" b="1" spc="-35" dirty="0">
                <a:latin typeface="Arial"/>
                <a:cs typeface="Arial"/>
              </a:rPr>
              <a:t>VA02 </a:t>
            </a:r>
            <a:r>
              <a:rPr sz="1200" b="1" spc="-5" dirty="0">
                <a:latin typeface="Arial"/>
                <a:cs typeface="Arial"/>
              </a:rPr>
              <a:t>– Change </a:t>
            </a:r>
            <a:r>
              <a:rPr sz="1200" b="1" dirty="0">
                <a:latin typeface="Arial"/>
                <a:cs typeface="Arial"/>
              </a:rPr>
              <a:t>Sales </a:t>
            </a:r>
            <a:r>
              <a:rPr sz="1200" b="1" spc="-10" dirty="0">
                <a:latin typeface="Arial"/>
                <a:cs typeface="Arial"/>
              </a:rPr>
              <a:t>Order, </a:t>
            </a:r>
            <a:r>
              <a:rPr sz="1200" b="1" spc="-35" dirty="0">
                <a:latin typeface="Arial"/>
                <a:cs typeface="Arial"/>
              </a:rPr>
              <a:t>VA22 </a:t>
            </a:r>
            <a:r>
              <a:rPr sz="1200" b="1" spc="-5" dirty="0">
                <a:latin typeface="Arial"/>
                <a:cs typeface="Arial"/>
              </a:rPr>
              <a:t>– Change Quotation,</a:t>
            </a:r>
            <a:r>
              <a:rPr sz="1200" b="1" spc="18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c.</a:t>
            </a:r>
            <a:endParaRPr sz="1200">
              <a:latin typeface="Arial"/>
              <a:cs typeface="Arial"/>
            </a:endParaRPr>
          </a:p>
          <a:p>
            <a:pPr marL="756285" lvl="1" indent="-286385">
              <a:lnSpc>
                <a:spcPts val="1920"/>
              </a:lnSpc>
              <a:buFont typeface="Arial"/>
              <a:buChar char="–"/>
              <a:tabLst>
                <a:tab pos="756285" algn="l"/>
                <a:tab pos="756920" algn="l"/>
              </a:tabLst>
            </a:pPr>
            <a:r>
              <a:rPr sz="1600" b="1" spc="-5" dirty="0">
                <a:latin typeface="Arial"/>
                <a:cs typeface="Arial"/>
              </a:rPr>
              <a:t>If a transaction ends in 3 (03, 13, 23, etc), it </a:t>
            </a:r>
            <a:r>
              <a:rPr sz="1600" b="1" spc="5" dirty="0">
                <a:latin typeface="Arial"/>
                <a:cs typeface="Arial"/>
              </a:rPr>
              <a:t>will </a:t>
            </a:r>
            <a:r>
              <a:rPr sz="1600" b="1" spc="-5" dirty="0">
                <a:latin typeface="Arial"/>
                <a:cs typeface="Arial"/>
              </a:rPr>
              <a:t>always be a </a:t>
            </a:r>
            <a:r>
              <a:rPr sz="1600" b="1" spc="-30" dirty="0">
                <a:latin typeface="Arial"/>
                <a:cs typeface="Arial"/>
              </a:rPr>
              <a:t>DISPLAY</a:t>
            </a:r>
            <a:r>
              <a:rPr sz="1600" b="1" spc="2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ransaction</a:t>
            </a:r>
            <a:endParaRPr sz="1600">
              <a:latin typeface="Arial"/>
              <a:cs typeface="Arial"/>
            </a:endParaRPr>
          </a:p>
          <a:p>
            <a:pPr marL="1155700" lvl="2" indent="-22860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1155700" algn="l"/>
                <a:tab pos="1156335" algn="l"/>
              </a:tabLst>
            </a:pPr>
            <a:r>
              <a:rPr sz="1200" b="1" dirty="0">
                <a:latin typeface="Arial"/>
                <a:cs typeface="Arial"/>
              </a:rPr>
              <a:t>E.g </a:t>
            </a:r>
            <a:r>
              <a:rPr sz="1200" b="1" spc="-35" dirty="0">
                <a:latin typeface="Arial"/>
                <a:cs typeface="Arial"/>
              </a:rPr>
              <a:t>VA03 </a:t>
            </a:r>
            <a:r>
              <a:rPr sz="1200" b="1" spc="-5" dirty="0">
                <a:latin typeface="Arial"/>
                <a:cs typeface="Arial"/>
              </a:rPr>
              <a:t>– </a:t>
            </a:r>
            <a:r>
              <a:rPr sz="1200" b="1" dirty="0">
                <a:latin typeface="Arial"/>
                <a:cs typeface="Arial"/>
              </a:rPr>
              <a:t>Display Sales </a:t>
            </a:r>
            <a:r>
              <a:rPr sz="1200" b="1" spc="-10" dirty="0">
                <a:latin typeface="Arial"/>
                <a:cs typeface="Arial"/>
              </a:rPr>
              <a:t>Order, </a:t>
            </a:r>
            <a:r>
              <a:rPr sz="1200" b="1" spc="-35" dirty="0">
                <a:latin typeface="Arial"/>
                <a:cs typeface="Arial"/>
              </a:rPr>
              <a:t>VA23 </a:t>
            </a:r>
            <a:r>
              <a:rPr sz="1200" b="1" spc="-5" dirty="0">
                <a:latin typeface="Arial"/>
                <a:cs typeface="Arial"/>
              </a:rPr>
              <a:t>– </a:t>
            </a:r>
            <a:r>
              <a:rPr sz="1200" b="1" dirty="0">
                <a:latin typeface="Arial"/>
                <a:cs typeface="Arial"/>
              </a:rPr>
              <a:t>Display </a:t>
            </a:r>
            <a:r>
              <a:rPr sz="1200" b="1" spc="-5" dirty="0">
                <a:latin typeface="Arial"/>
                <a:cs typeface="Arial"/>
              </a:rPr>
              <a:t>Quotation,</a:t>
            </a:r>
            <a:r>
              <a:rPr sz="1200" b="1" spc="6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tc.</a:t>
            </a:r>
            <a:endParaRPr sz="1200">
              <a:latin typeface="Arial"/>
              <a:cs typeface="Arial"/>
            </a:endParaRPr>
          </a:p>
          <a:p>
            <a:pPr lvl="2">
              <a:lnSpc>
                <a:spcPct val="100000"/>
              </a:lnSpc>
              <a:buFont typeface="Arial"/>
              <a:buChar char="•"/>
            </a:pPr>
            <a:endParaRPr sz="1200">
              <a:latin typeface="Times New Roman"/>
              <a:cs typeface="Times New Roman"/>
            </a:endParaRPr>
          </a:p>
          <a:p>
            <a:pPr marL="12700" marR="7620" algn="just">
              <a:lnSpc>
                <a:spcPct val="100000"/>
              </a:lnSpc>
              <a:spcBef>
                <a:spcPts val="765"/>
              </a:spcBef>
              <a:buFont typeface="Arial"/>
              <a:buChar char="•"/>
              <a:tabLst>
                <a:tab pos="150495" algn="l"/>
              </a:tabLst>
            </a:pPr>
            <a:r>
              <a:rPr sz="1800" b="1" spc="-10" dirty="0">
                <a:latin typeface="Arial"/>
                <a:cs typeface="Arial"/>
              </a:rPr>
              <a:t>Area </a:t>
            </a:r>
            <a:r>
              <a:rPr sz="1800" b="1" dirty="0">
                <a:latin typeface="Arial"/>
                <a:cs typeface="Arial"/>
              </a:rPr>
              <a:t>Menus </a:t>
            </a:r>
            <a:r>
              <a:rPr sz="1800" b="1" spc="-5" dirty="0">
                <a:latin typeface="Arial"/>
                <a:cs typeface="Arial"/>
              </a:rPr>
              <a:t>such </a:t>
            </a:r>
            <a:r>
              <a:rPr sz="1800" b="1" spc="-45" dirty="0">
                <a:latin typeface="Arial"/>
                <a:cs typeface="Arial"/>
              </a:rPr>
              <a:t>VA00 </a:t>
            </a:r>
            <a:r>
              <a:rPr sz="1800" b="1" dirty="0">
                <a:latin typeface="Arial"/>
                <a:cs typeface="Arial"/>
              </a:rPr>
              <a:t>(Sales), </a:t>
            </a:r>
            <a:r>
              <a:rPr sz="1800" b="1" spc="-5" dirty="0">
                <a:latin typeface="Arial"/>
                <a:cs typeface="Arial"/>
              </a:rPr>
              <a:t>VL00 </a:t>
            </a:r>
            <a:r>
              <a:rPr sz="1800" b="1" dirty="0">
                <a:latin typeface="Arial"/>
                <a:cs typeface="Arial"/>
              </a:rPr>
              <a:t>(Shipping) , </a:t>
            </a:r>
            <a:r>
              <a:rPr sz="1800" b="1" spc="-10" dirty="0">
                <a:latin typeface="Arial"/>
                <a:cs typeface="Arial"/>
              </a:rPr>
              <a:t>VF00 </a:t>
            </a:r>
            <a:r>
              <a:rPr sz="1800" b="1" dirty="0">
                <a:latin typeface="Arial"/>
                <a:cs typeface="Arial"/>
              </a:rPr>
              <a:t>(Billing), </a:t>
            </a:r>
            <a:r>
              <a:rPr sz="1800" b="1" spc="-10" dirty="0">
                <a:latin typeface="Arial"/>
                <a:cs typeface="Arial"/>
              </a:rPr>
              <a:t>VS00 </a:t>
            </a:r>
            <a:r>
              <a:rPr sz="1800" b="1" dirty="0">
                <a:latin typeface="Arial"/>
                <a:cs typeface="Arial"/>
              </a:rPr>
              <a:t>(Sales  </a:t>
            </a:r>
            <a:r>
              <a:rPr sz="1800" b="1" spc="-5" dirty="0">
                <a:latin typeface="Arial"/>
                <a:cs typeface="Arial"/>
              </a:rPr>
              <a:t>Master Data), VT00 </a:t>
            </a:r>
            <a:r>
              <a:rPr sz="1800" b="1" spc="-10" dirty="0">
                <a:latin typeface="Arial"/>
                <a:cs typeface="Arial"/>
              </a:rPr>
              <a:t>(Transportation) </a:t>
            </a:r>
            <a:r>
              <a:rPr sz="1800" b="1" spc="-5" dirty="0">
                <a:latin typeface="Arial"/>
                <a:cs typeface="Arial"/>
              </a:rPr>
              <a:t>provide access </a:t>
            </a:r>
            <a:r>
              <a:rPr sz="1800" b="1" dirty="0">
                <a:latin typeface="Arial"/>
                <a:cs typeface="Arial"/>
              </a:rPr>
              <a:t>to only to </a:t>
            </a:r>
            <a:r>
              <a:rPr sz="1800" b="1" spc="-5" dirty="0">
                <a:latin typeface="Arial"/>
                <a:cs typeface="Arial"/>
              </a:rPr>
              <a:t>specific</a:t>
            </a:r>
            <a:r>
              <a:rPr sz="1800" b="1" spc="10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reas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185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  <a:buFont typeface="Arial"/>
              <a:buChar char="•"/>
              <a:tabLst>
                <a:tab pos="151765" algn="l"/>
              </a:tabLst>
            </a:pPr>
            <a:r>
              <a:rPr sz="1800" b="1" spc="-45" dirty="0">
                <a:latin typeface="Arial"/>
                <a:cs typeface="Arial"/>
              </a:rPr>
              <a:t>You </a:t>
            </a:r>
            <a:r>
              <a:rPr sz="1800" b="1" spc="-5" dirty="0">
                <a:latin typeface="Arial"/>
                <a:cs typeface="Arial"/>
              </a:rPr>
              <a:t>can </a:t>
            </a:r>
            <a:r>
              <a:rPr sz="1800" b="1" dirty="0">
                <a:latin typeface="Arial"/>
                <a:cs typeface="Arial"/>
              </a:rPr>
              <a:t>show </a:t>
            </a:r>
            <a:r>
              <a:rPr sz="1800" b="1" spc="-5" dirty="0">
                <a:latin typeface="Arial"/>
                <a:cs typeface="Arial"/>
              </a:rPr>
              <a:t>the keys </a:t>
            </a:r>
            <a:r>
              <a:rPr sz="1800" b="1" spc="5" dirty="0">
                <a:latin typeface="Arial"/>
                <a:cs typeface="Arial"/>
              </a:rPr>
              <a:t>for </a:t>
            </a:r>
            <a:r>
              <a:rPr sz="1800" b="1" spc="-10" dirty="0">
                <a:latin typeface="Arial"/>
                <a:cs typeface="Arial"/>
              </a:rPr>
              <a:t>values </a:t>
            </a:r>
            <a:r>
              <a:rPr sz="1800" b="1" dirty="0">
                <a:latin typeface="Arial"/>
                <a:cs typeface="Arial"/>
              </a:rPr>
              <a:t>in the drop down option. </a:t>
            </a:r>
            <a:r>
              <a:rPr sz="1800" b="1" spc="-70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do this chose  Customizing </a:t>
            </a:r>
            <a:r>
              <a:rPr sz="1800" b="1" spc="-5" dirty="0">
                <a:latin typeface="Arial"/>
                <a:cs typeface="Arial"/>
              </a:rPr>
              <a:t>local layout</a:t>
            </a:r>
            <a:r>
              <a:rPr sz="1800" b="1" spc="-5" dirty="0">
                <a:latin typeface="Wingdings"/>
                <a:cs typeface="Wingdings"/>
              </a:rPr>
              <a:t>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Options</a:t>
            </a:r>
            <a:r>
              <a:rPr sz="1800" b="1" spc="-5" dirty="0">
                <a:latin typeface="Wingdings"/>
                <a:cs typeface="Wingdings"/>
              </a:rPr>
              <a:t>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5" dirty="0">
                <a:latin typeface="Arial"/>
                <a:cs typeface="Arial"/>
              </a:rPr>
              <a:t>Expert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5" dirty="0">
                <a:latin typeface="Arial"/>
                <a:cs typeface="Arial"/>
              </a:rPr>
              <a:t>then check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check </a:t>
            </a:r>
            <a:r>
              <a:rPr sz="1800" b="1" spc="5" dirty="0">
                <a:latin typeface="Arial"/>
                <a:cs typeface="Arial"/>
              </a:rPr>
              <a:t>box  </a:t>
            </a:r>
            <a:r>
              <a:rPr sz="1800" b="1" dirty="0">
                <a:latin typeface="Arial"/>
                <a:cs typeface="Arial"/>
              </a:rPr>
              <a:t>‘Show </a:t>
            </a:r>
            <a:r>
              <a:rPr sz="1800" b="1" spc="-10" dirty="0">
                <a:latin typeface="Arial"/>
                <a:cs typeface="Arial"/>
              </a:rPr>
              <a:t>keys </a:t>
            </a:r>
            <a:r>
              <a:rPr sz="1800" b="1" dirty="0">
                <a:latin typeface="Arial"/>
                <a:cs typeface="Arial"/>
              </a:rPr>
              <a:t>in all drop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downs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1850">
              <a:latin typeface="Times New Roman"/>
              <a:cs typeface="Times New Roman"/>
            </a:endParaRPr>
          </a:p>
          <a:p>
            <a:pPr marL="12700" marR="5715" algn="just">
              <a:lnSpc>
                <a:spcPct val="100000"/>
              </a:lnSpc>
              <a:buFont typeface="Arial"/>
              <a:buChar char="•"/>
              <a:tabLst>
                <a:tab pos="156845" algn="l"/>
              </a:tabLst>
            </a:pPr>
            <a:r>
              <a:rPr sz="1800" b="1" spc="-5" dirty="0">
                <a:latin typeface="Arial"/>
                <a:cs typeface="Arial"/>
              </a:rPr>
              <a:t>Whenever you create </a:t>
            </a:r>
            <a:r>
              <a:rPr sz="1800" b="1" spc="-10" dirty="0">
                <a:latin typeface="Arial"/>
                <a:cs typeface="Arial"/>
              </a:rPr>
              <a:t>new </a:t>
            </a:r>
            <a:r>
              <a:rPr sz="1800" b="1" spc="-5" dirty="0">
                <a:latin typeface="Arial"/>
                <a:cs typeface="Arial"/>
              </a:rPr>
              <a:t>entries </a:t>
            </a:r>
            <a:r>
              <a:rPr sz="1800" b="1" dirty="0">
                <a:latin typeface="Arial"/>
                <a:cs typeface="Arial"/>
              </a:rPr>
              <a:t>in </a:t>
            </a:r>
            <a:r>
              <a:rPr sz="1800" b="1" spc="-5" dirty="0">
                <a:latin typeface="Arial"/>
                <a:cs typeface="Arial"/>
              </a:rPr>
              <a:t>Customizing, </a:t>
            </a:r>
            <a:r>
              <a:rPr sz="1800" b="1" spc="-10" dirty="0">
                <a:latin typeface="Arial"/>
                <a:cs typeface="Arial"/>
              </a:rPr>
              <a:t>always </a:t>
            </a:r>
            <a:r>
              <a:rPr sz="1800" b="1" spc="-5" dirty="0">
                <a:latin typeface="Arial"/>
                <a:cs typeface="Arial"/>
              </a:rPr>
              <a:t>remember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copy  a </a:t>
            </a:r>
            <a:r>
              <a:rPr sz="1800" b="1" spc="-10" dirty="0">
                <a:latin typeface="Arial"/>
                <a:cs typeface="Arial"/>
              </a:rPr>
              <a:t>SAP </a:t>
            </a:r>
            <a:r>
              <a:rPr sz="1800" b="1" spc="-5" dirty="0">
                <a:latin typeface="Arial"/>
                <a:cs typeface="Arial"/>
              </a:rPr>
              <a:t>standard entry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10" dirty="0">
                <a:latin typeface="Arial"/>
                <a:cs typeface="Arial"/>
              </a:rPr>
              <a:t>then </a:t>
            </a:r>
            <a:r>
              <a:rPr sz="1800" b="1" dirty="0">
                <a:latin typeface="Arial"/>
                <a:cs typeface="Arial"/>
              </a:rPr>
              <a:t>modify </a:t>
            </a:r>
            <a:r>
              <a:rPr sz="1800" b="1" spc="-5" dirty="0">
                <a:latin typeface="Arial"/>
                <a:cs typeface="Arial"/>
              </a:rPr>
              <a:t>it. (The system </a:t>
            </a:r>
            <a:r>
              <a:rPr sz="1800" b="1" dirty="0">
                <a:latin typeface="Arial"/>
                <a:cs typeface="Arial"/>
              </a:rPr>
              <a:t>copies </a:t>
            </a:r>
            <a:r>
              <a:rPr sz="1800" b="1" spc="-10" dirty="0">
                <a:latin typeface="Arial"/>
                <a:cs typeface="Arial"/>
              </a:rPr>
              <a:t>several </a:t>
            </a:r>
            <a:r>
              <a:rPr sz="1800" b="1" spc="-5" dirty="0">
                <a:latin typeface="Arial"/>
                <a:cs typeface="Arial"/>
              </a:rPr>
              <a:t>pieces </a:t>
            </a:r>
            <a:r>
              <a:rPr sz="1800" b="1" spc="5" dirty="0">
                <a:latin typeface="Arial"/>
                <a:cs typeface="Arial"/>
              </a:rPr>
              <a:t>of  </a:t>
            </a:r>
            <a:r>
              <a:rPr sz="1800" b="1" dirty="0">
                <a:latin typeface="Arial"/>
                <a:cs typeface="Arial"/>
              </a:rPr>
              <a:t>information in the</a:t>
            </a:r>
            <a:r>
              <a:rPr sz="1800" b="1" spc="-7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background.)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918203" y="260604"/>
            <a:ext cx="886968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Additional</a:t>
            </a:r>
            <a:r>
              <a:rPr spc="-70" dirty="0"/>
              <a:t> </a:t>
            </a:r>
            <a:r>
              <a:rPr dirty="0"/>
              <a:t>Info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840739" y="1409405"/>
            <a:ext cx="7492365" cy="4677410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49860" indent="-137160" algn="just">
              <a:lnSpc>
                <a:spcPct val="100000"/>
              </a:lnSpc>
              <a:spcBef>
                <a:spcPts val="5"/>
              </a:spcBef>
              <a:buFont typeface="Times New Roman"/>
              <a:buChar char="•"/>
              <a:tabLst>
                <a:tab pos="150495" algn="l"/>
              </a:tabLst>
            </a:pPr>
            <a:r>
              <a:rPr sz="1800" b="1" dirty="0">
                <a:latin typeface="Arial"/>
                <a:cs typeface="Arial"/>
              </a:rPr>
              <a:t>Choose</a:t>
            </a:r>
            <a:r>
              <a:rPr sz="1800" b="1" spc="25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a</a:t>
            </a:r>
            <a:r>
              <a:rPr sz="1800" b="1" spc="26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task</a:t>
            </a:r>
            <a:r>
              <a:rPr sz="1800" b="1" spc="26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from</a:t>
            </a:r>
            <a:r>
              <a:rPr sz="1800" b="1" spc="26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the</a:t>
            </a:r>
            <a:r>
              <a:rPr sz="1800" b="1" spc="260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SAP</a:t>
            </a:r>
            <a:r>
              <a:rPr sz="1800" b="1" spc="23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Easy</a:t>
            </a:r>
            <a:r>
              <a:rPr sz="1800" b="1" spc="27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Access</a:t>
            </a:r>
            <a:r>
              <a:rPr sz="1800" b="1" spc="24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workplace</a:t>
            </a:r>
            <a:r>
              <a:rPr sz="1800" b="1" spc="26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enu.</a:t>
            </a:r>
            <a:r>
              <a:rPr sz="1800" b="1" spc="2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With</a:t>
            </a:r>
            <a:endParaRPr sz="1800">
              <a:latin typeface="Arial"/>
              <a:cs typeface="Arial"/>
            </a:endParaRPr>
          </a:p>
          <a:p>
            <a:pPr marL="12700" marR="5080" algn="just">
              <a:lnSpc>
                <a:spcPct val="100000"/>
              </a:lnSpc>
              <a:spcBef>
                <a:spcPts val="10"/>
              </a:spcBef>
            </a:pPr>
            <a:r>
              <a:rPr sz="1800" b="1" dirty="0">
                <a:latin typeface="Arial"/>
                <a:cs typeface="Arial"/>
              </a:rPr>
              <a:t>this </a:t>
            </a:r>
            <a:r>
              <a:rPr sz="1800" b="1" spc="-5" dirty="0">
                <a:latin typeface="Arial"/>
                <a:cs typeface="Arial"/>
              </a:rPr>
              <a:t>menu, you can easily </a:t>
            </a:r>
            <a:r>
              <a:rPr sz="1800" b="1" dirty="0">
                <a:latin typeface="Arial"/>
                <a:cs typeface="Arial"/>
              </a:rPr>
              <a:t>find </a:t>
            </a:r>
            <a:r>
              <a:rPr sz="1800" b="1" spc="-5" dirty="0">
                <a:latin typeface="Arial"/>
                <a:cs typeface="Arial"/>
              </a:rPr>
              <a:t>your </a:t>
            </a:r>
            <a:r>
              <a:rPr sz="1800" b="1" dirty="0">
                <a:latin typeface="Arial"/>
                <a:cs typeface="Arial"/>
              </a:rPr>
              <a:t>application without </a:t>
            </a:r>
            <a:r>
              <a:rPr sz="1800" b="1" spc="-5" dirty="0">
                <a:latin typeface="Arial"/>
                <a:cs typeface="Arial"/>
              </a:rPr>
              <a:t>having </a:t>
            </a:r>
            <a:r>
              <a:rPr sz="1800" b="1" dirty="0">
                <a:latin typeface="Arial"/>
                <a:cs typeface="Arial"/>
              </a:rPr>
              <a:t>to  </a:t>
            </a:r>
            <a:r>
              <a:rPr sz="1800" b="1" spc="-5" dirty="0">
                <a:latin typeface="Arial"/>
                <a:cs typeface="Arial"/>
              </a:rPr>
              <a:t>memorize transaction codes. Alternatively enter a transaction </a:t>
            </a:r>
            <a:r>
              <a:rPr sz="1800" b="1" dirty="0">
                <a:latin typeface="Arial"/>
                <a:cs typeface="Arial"/>
              </a:rPr>
              <a:t>code  in the </a:t>
            </a:r>
            <a:r>
              <a:rPr sz="1800" b="1" spc="-5" dirty="0">
                <a:latin typeface="Arial"/>
                <a:cs typeface="Arial"/>
              </a:rPr>
              <a:t>command field. With transaction codes, </a:t>
            </a:r>
            <a:r>
              <a:rPr sz="1800" b="1" spc="-10" dirty="0">
                <a:latin typeface="Arial"/>
                <a:cs typeface="Arial"/>
              </a:rPr>
              <a:t>you can </a:t>
            </a:r>
            <a:r>
              <a:rPr sz="1800" b="1" dirty="0">
                <a:latin typeface="Arial"/>
                <a:cs typeface="Arial"/>
              </a:rPr>
              <a:t>go </a:t>
            </a:r>
            <a:r>
              <a:rPr sz="1800" b="1" spc="-5" dirty="0">
                <a:latin typeface="Arial"/>
                <a:cs typeface="Arial"/>
              </a:rPr>
              <a:t>directly to  a task </a:t>
            </a:r>
            <a:r>
              <a:rPr sz="1800" b="1" spc="5" dirty="0">
                <a:latin typeface="Arial"/>
                <a:cs typeface="Arial"/>
              </a:rPr>
              <a:t>without </a:t>
            </a:r>
            <a:r>
              <a:rPr sz="1800" b="1" spc="-10" dirty="0">
                <a:latin typeface="Arial"/>
                <a:cs typeface="Arial"/>
              </a:rPr>
              <a:t>having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navigate </a:t>
            </a:r>
            <a:r>
              <a:rPr sz="1800" b="1" dirty="0">
                <a:latin typeface="Arial"/>
                <a:cs typeface="Arial"/>
              </a:rPr>
              <a:t>through </a:t>
            </a:r>
            <a:r>
              <a:rPr sz="1800" b="1" spc="-10" dirty="0">
                <a:latin typeface="Arial"/>
                <a:cs typeface="Arial"/>
              </a:rPr>
              <a:t>several </a:t>
            </a:r>
            <a:r>
              <a:rPr sz="1800" b="1" spc="-5" dirty="0">
                <a:latin typeface="Arial"/>
                <a:cs typeface="Arial"/>
              </a:rPr>
              <a:t>different</a:t>
            </a:r>
            <a:r>
              <a:rPr sz="1800" b="1" spc="8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menus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Times New Roman"/>
              <a:cs typeface="Times New Roman"/>
            </a:endParaRPr>
          </a:p>
          <a:p>
            <a:pPr marL="12700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go to </a:t>
            </a:r>
            <a:r>
              <a:rPr sz="1800" b="1" spc="-5" dirty="0">
                <a:latin typeface="Arial"/>
                <a:cs typeface="Arial"/>
              </a:rPr>
              <a:t>command </a:t>
            </a:r>
            <a:r>
              <a:rPr sz="1800" b="1" spc="5" dirty="0">
                <a:latin typeface="Arial"/>
                <a:cs typeface="Arial"/>
              </a:rPr>
              <a:t>window </a:t>
            </a:r>
            <a:r>
              <a:rPr sz="1800" b="1" dirty="0">
                <a:latin typeface="Arial"/>
                <a:cs typeface="Arial"/>
              </a:rPr>
              <a:t>using </a:t>
            </a:r>
            <a:r>
              <a:rPr sz="1800" b="1" spc="-5" dirty="0">
                <a:latin typeface="Arial"/>
                <a:cs typeface="Arial"/>
              </a:rPr>
              <a:t>key board press </a:t>
            </a:r>
            <a:r>
              <a:rPr sz="1800" b="1" spc="-10" dirty="0">
                <a:latin typeface="Arial"/>
                <a:cs typeface="Arial"/>
              </a:rPr>
              <a:t>keys</a:t>
            </a:r>
            <a:r>
              <a:rPr sz="1800" b="1" spc="8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trl+tab</a:t>
            </a:r>
            <a:endParaRPr sz="1800">
              <a:latin typeface="Arial"/>
              <a:cs typeface="Arial"/>
            </a:endParaRPr>
          </a:p>
          <a:p>
            <a:pPr marL="154305" indent="-14160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generate a </a:t>
            </a:r>
            <a:r>
              <a:rPr sz="1800" b="1" dirty="0">
                <a:latin typeface="Arial"/>
                <a:cs typeface="Arial"/>
              </a:rPr>
              <a:t>new </a:t>
            </a:r>
            <a:r>
              <a:rPr sz="1800" b="1" spc="-5" dirty="0">
                <a:latin typeface="Arial"/>
                <a:cs typeface="Arial"/>
              </a:rPr>
              <a:t>session enter </a:t>
            </a:r>
            <a:r>
              <a:rPr sz="1800" b="1" dirty="0">
                <a:latin typeface="Arial"/>
                <a:cs typeface="Arial"/>
              </a:rPr>
              <a:t>/o in the </a:t>
            </a:r>
            <a:r>
              <a:rPr sz="1800" b="1" spc="-5" dirty="0">
                <a:latin typeface="Arial"/>
                <a:cs typeface="Arial"/>
              </a:rPr>
              <a:t>command</a:t>
            </a:r>
            <a:r>
              <a:rPr sz="1800" b="1" spc="10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  <a:p>
            <a:pPr marL="12700" marR="245745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call a transaction </a:t>
            </a:r>
            <a:r>
              <a:rPr sz="1800" b="1" dirty="0">
                <a:latin typeface="Arial"/>
                <a:cs typeface="Arial"/>
              </a:rPr>
              <a:t>in new window enter </a:t>
            </a:r>
            <a:r>
              <a:rPr sz="1800" b="1" spc="-5" dirty="0">
                <a:latin typeface="Arial"/>
                <a:cs typeface="Arial"/>
              </a:rPr>
              <a:t>/oxxxx </a:t>
            </a:r>
            <a:r>
              <a:rPr sz="1800" b="1" dirty="0">
                <a:latin typeface="Arial"/>
                <a:cs typeface="Arial"/>
              </a:rPr>
              <a:t>in the </a:t>
            </a:r>
            <a:r>
              <a:rPr sz="1800" b="1" spc="-5" dirty="0">
                <a:latin typeface="Arial"/>
                <a:cs typeface="Arial"/>
              </a:rPr>
              <a:t>command  </a:t>
            </a:r>
            <a:r>
              <a:rPr sz="1800" b="1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  <a:p>
            <a:pPr marL="12700" marR="576580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call a transaction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5" dirty="0">
                <a:latin typeface="Arial"/>
                <a:cs typeface="Arial"/>
              </a:rPr>
              <a:t>skip </a:t>
            </a:r>
            <a:r>
              <a:rPr sz="1800" b="1" dirty="0">
                <a:latin typeface="Arial"/>
                <a:cs typeface="Arial"/>
              </a:rPr>
              <a:t>initial </a:t>
            </a:r>
            <a:r>
              <a:rPr sz="1800" b="1" spc="-5" dirty="0">
                <a:latin typeface="Arial"/>
                <a:cs typeface="Arial"/>
              </a:rPr>
              <a:t>screen, enter /”xxxx </a:t>
            </a:r>
            <a:r>
              <a:rPr sz="1800" b="1" dirty="0">
                <a:latin typeface="Arial"/>
                <a:cs typeface="Arial"/>
              </a:rPr>
              <a:t>in the  </a:t>
            </a:r>
            <a:r>
              <a:rPr sz="1800" b="1" spc="-5" dirty="0">
                <a:latin typeface="Arial"/>
                <a:cs typeface="Arial"/>
              </a:rPr>
              <a:t>command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  <a:p>
            <a:pPr marL="154305" indent="-14160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delete a session enter</a:t>
            </a:r>
            <a:r>
              <a:rPr sz="1800" b="1" spc="4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/i</a:t>
            </a:r>
            <a:endParaRPr sz="1800">
              <a:latin typeface="Arial"/>
              <a:cs typeface="Arial"/>
            </a:endParaRPr>
          </a:p>
          <a:p>
            <a:pPr marL="154305" indent="-14160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end </a:t>
            </a:r>
            <a:r>
              <a:rPr sz="1800" b="1" spc="-5" dirty="0">
                <a:latin typeface="Arial"/>
                <a:cs typeface="Arial"/>
              </a:rPr>
              <a:t>a session enter </a:t>
            </a:r>
            <a:r>
              <a:rPr sz="1800" b="1" dirty="0">
                <a:latin typeface="Arial"/>
                <a:cs typeface="Arial"/>
              </a:rPr>
              <a:t>/n in the </a:t>
            </a:r>
            <a:r>
              <a:rPr sz="1800" b="1" spc="-5" dirty="0">
                <a:latin typeface="Arial"/>
                <a:cs typeface="Arial"/>
              </a:rPr>
              <a:t>command</a:t>
            </a:r>
            <a:r>
              <a:rPr sz="1800" b="1" spc="45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  <a:p>
            <a:pPr marL="154305" indent="-14160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log off </a:t>
            </a:r>
            <a:r>
              <a:rPr sz="1800" b="1" spc="10" dirty="0">
                <a:latin typeface="Arial"/>
                <a:cs typeface="Arial"/>
              </a:rPr>
              <a:t>with </a:t>
            </a:r>
            <a:r>
              <a:rPr sz="1800" b="1" dirty="0">
                <a:latin typeface="Arial"/>
                <a:cs typeface="Arial"/>
              </a:rPr>
              <a:t>prompt enter /nend in the </a:t>
            </a:r>
            <a:r>
              <a:rPr sz="1800" b="1" spc="-5" dirty="0">
                <a:latin typeface="Arial"/>
                <a:cs typeface="Arial"/>
              </a:rPr>
              <a:t>command</a:t>
            </a:r>
            <a:r>
              <a:rPr sz="1800" b="1" spc="-60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  <a:p>
            <a:pPr marL="154305" indent="-14160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dirty="0">
                <a:latin typeface="Arial"/>
                <a:cs typeface="Arial"/>
              </a:rPr>
              <a:t>log off </a:t>
            </a:r>
            <a:r>
              <a:rPr sz="1800" b="1" spc="-5" dirty="0">
                <a:latin typeface="Arial"/>
                <a:cs typeface="Arial"/>
              </a:rPr>
              <a:t>an close </a:t>
            </a:r>
            <a:r>
              <a:rPr sz="1800" b="1" dirty="0">
                <a:latin typeface="Arial"/>
                <a:cs typeface="Arial"/>
              </a:rPr>
              <a:t>all open </a:t>
            </a:r>
            <a:r>
              <a:rPr sz="1800" b="1" spc="-5" dirty="0">
                <a:latin typeface="Arial"/>
                <a:cs typeface="Arial"/>
              </a:rPr>
              <a:t>session </a:t>
            </a:r>
            <a:r>
              <a:rPr sz="1800" b="1" spc="5" dirty="0">
                <a:latin typeface="Arial"/>
                <a:cs typeface="Arial"/>
              </a:rPr>
              <a:t>windows without </a:t>
            </a:r>
            <a:r>
              <a:rPr sz="1800" b="1" dirty="0">
                <a:latin typeface="Arial"/>
                <a:cs typeface="Arial"/>
              </a:rPr>
              <a:t>prompt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enter</a:t>
            </a:r>
            <a:endParaRPr sz="1800">
              <a:latin typeface="Arial"/>
              <a:cs typeface="Arial"/>
            </a:endParaRPr>
          </a:p>
          <a:p>
            <a:pPr marL="12700" algn="just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/nex in the </a:t>
            </a:r>
            <a:r>
              <a:rPr sz="1800" b="1" spc="-5" dirty="0">
                <a:latin typeface="Arial"/>
                <a:cs typeface="Arial"/>
              </a:rPr>
              <a:t>command</a:t>
            </a:r>
            <a:r>
              <a:rPr sz="1800" b="1" spc="-85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window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318759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Sales &amp;</a:t>
            </a:r>
            <a:r>
              <a:rPr spc="-65" dirty="0"/>
              <a:t> </a:t>
            </a:r>
            <a:r>
              <a:rPr dirty="0"/>
              <a:t>Distribution</a:t>
            </a:r>
          </a:p>
        </p:txBody>
      </p:sp>
      <p:sp>
        <p:nvSpPr>
          <p:cNvPr id="5" name="object 5"/>
          <p:cNvSpPr/>
          <p:nvPr/>
        </p:nvSpPr>
        <p:spPr>
          <a:xfrm>
            <a:off x="388620" y="1316736"/>
            <a:ext cx="377952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8620" y="1591055"/>
            <a:ext cx="2776728" cy="3825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851404" y="159105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8620" y="1865376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1519" y="1865376"/>
            <a:ext cx="377952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88620" y="213969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31519" y="2139695"/>
            <a:ext cx="4593336" cy="3825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010911" y="213969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88620" y="2414016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1519" y="2414016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303019" y="2414016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88620" y="268833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31519" y="268833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303019" y="2688335"/>
            <a:ext cx="3029711" cy="3825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018788" y="268833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88620" y="296265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31519" y="296265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303019" y="296265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88620" y="3236976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31519" y="3236976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303019" y="323697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7420" y="3236976"/>
            <a:ext cx="1749552" cy="38252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653028" y="3236976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88620" y="3511296"/>
            <a:ext cx="656843" cy="3825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31519" y="3511296"/>
            <a:ext cx="885444" cy="3825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303019" y="3511296"/>
            <a:ext cx="377951" cy="3825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88620" y="378561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31519" y="378561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303019" y="378561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217420" y="378561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131820" y="3785615"/>
            <a:ext cx="1696211" cy="38252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514088" y="378561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88620" y="405993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31519" y="405993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303019" y="40599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217420" y="405993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88620" y="433425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31519" y="433425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303019" y="433425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217420" y="433425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131820" y="433425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046220" y="4334255"/>
            <a:ext cx="3899916" cy="38252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632192" y="433425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88620" y="4608576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31519" y="4608576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303019" y="460857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217420" y="460857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131820" y="4608576"/>
            <a:ext cx="377952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88620" y="4882896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1519" y="4882896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303019" y="488289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217420" y="488289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131820" y="488289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046220" y="4882896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960620" y="4882896"/>
            <a:ext cx="1014984" cy="38252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661659" y="4882896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88620" y="5157215"/>
            <a:ext cx="656843" cy="3825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31519" y="5157215"/>
            <a:ext cx="885444" cy="3825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303019" y="5157215"/>
            <a:ext cx="1228344" cy="382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217420" y="5157215"/>
            <a:ext cx="1228344" cy="382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131820" y="5157215"/>
            <a:ext cx="1228344" cy="382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046220" y="5157215"/>
            <a:ext cx="377951" cy="3825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88620" y="5431535"/>
            <a:ext cx="656843" cy="382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31519" y="5431535"/>
            <a:ext cx="885444" cy="3825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303019" y="54315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2217420" y="54315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131820" y="54315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4046220" y="54315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960620" y="5431535"/>
            <a:ext cx="1228344" cy="3825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875020" y="5431535"/>
            <a:ext cx="757427" cy="38252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18503" y="5431535"/>
            <a:ext cx="377951" cy="382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 txBox="1"/>
          <p:nvPr/>
        </p:nvSpPr>
        <p:spPr>
          <a:xfrm>
            <a:off x="520700" y="1661414"/>
            <a:ext cx="7268845" cy="4126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Know your</a:t>
            </a:r>
            <a:r>
              <a:rPr sz="1800" b="1" spc="-6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ustomers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3556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Know your </a:t>
            </a:r>
            <a:r>
              <a:rPr sz="1800" b="1" dirty="0">
                <a:latin typeface="Arial"/>
                <a:cs typeface="Arial"/>
              </a:rPr>
              <a:t>Products / </a:t>
            </a:r>
            <a:r>
              <a:rPr sz="1800" b="1" spc="-10" dirty="0">
                <a:latin typeface="Arial"/>
                <a:cs typeface="Arial"/>
              </a:rPr>
              <a:t>Service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fferings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9271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Define terms </a:t>
            </a:r>
            <a:r>
              <a:rPr sz="1800" b="1" dirty="0">
                <a:latin typeface="Arial"/>
                <a:cs typeface="Arial"/>
              </a:rPr>
              <a:t>of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business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8415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Build</a:t>
            </a:r>
            <a:r>
              <a:rPr sz="1800" b="1" spc="-1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utilities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R="365125" algn="ctr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Arial"/>
                <a:cs typeface="Arial"/>
              </a:rPr>
              <a:t>Book</a:t>
            </a:r>
            <a:r>
              <a:rPr sz="1800" b="1" spc="-7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Orders</a:t>
            </a:r>
            <a:endParaRPr sz="1800" dirty="0">
              <a:latin typeface="Arial"/>
              <a:cs typeface="Arial"/>
            </a:endParaRPr>
          </a:p>
          <a:p>
            <a:pPr marL="4585335" marR="5080" indent="-914400">
              <a:lnSpc>
                <a:spcPct val="200000"/>
              </a:lnSpc>
            </a:pPr>
            <a:r>
              <a:rPr sz="1800" b="1" spc="-10" dirty="0">
                <a:latin typeface="Arial"/>
                <a:cs typeface="Arial"/>
              </a:rPr>
              <a:t>Deliver </a:t>
            </a:r>
            <a:r>
              <a:rPr sz="1800" b="1" dirty="0">
                <a:latin typeface="Arial"/>
                <a:cs typeface="Arial"/>
              </a:rPr>
              <a:t>Goods / </a:t>
            </a:r>
            <a:r>
              <a:rPr sz="1800" b="1" spc="-5" dirty="0">
                <a:latin typeface="Arial"/>
                <a:cs typeface="Arial"/>
              </a:rPr>
              <a:t>Perform </a:t>
            </a:r>
            <a:r>
              <a:rPr sz="1800" b="1" spc="-10" dirty="0">
                <a:latin typeface="Arial"/>
                <a:cs typeface="Arial"/>
              </a:rPr>
              <a:t>services  </a:t>
            </a:r>
            <a:r>
              <a:rPr sz="1800" b="1" dirty="0">
                <a:latin typeface="Arial"/>
                <a:cs typeface="Arial"/>
              </a:rPr>
              <a:t>Billing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R="1379855" algn="r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Get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6629400" y="5181600"/>
            <a:ext cx="790575" cy="69056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836545" y="2148713"/>
            <a:ext cx="121412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Customer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In</a:t>
            </a:r>
            <a:r>
              <a:rPr sz="2000" spc="-15" dirty="0">
                <a:solidFill>
                  <a:srgbClr val="3333CC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era</a:t>
            </a:r>
            <a:r>
              <a:rPr sz="2000" spc="5" dirty="0">
                <a:solidFill>
                  <a:srgbClr val="3333CC"/>
                </a:solidFill>
                <a:latin typeface="Arial"/>
                <a:cs typeface="Arial"/>
              </a:rPr>
              <a:t>c</a:t>
            </a: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t</a:t>
            </a:r>
            <a:r>
              <a:rPr sz="2000" spc="-10" dirty="0">
                <a:solidFill>
                  <a:srgbClr val="3333CC"/>
                </a:solidFill>
                <a:latin typeface="Arial"/>
                <a:cs typeface="Arial"/>
              </a:rPr>
              <a:t>i</a:t>
            </a: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on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6951" y="213867"/>
            <a:ext cx="2530475" cy="1906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400" b="1" dirty="0">
                <a:latin typeface="Arial"/>
                <a:cs typeface="Arial"/>
              </a:rPr>
              <a:t>Use</a:t>
            </a:r>
            <a:endParaRPr sz="4400" dirty="0">
              <a:latin typeface="Arial"/>
              <a:cs typeface="Arial"/>
            </a:endParaRPr>
          </a:p>
          <a:p>
            <a:pPr marL="151130" marR="5080">
              <a:lnSpc>
                <a:spcPct val="100000"/>
              </a:lnSpc>
              <a:spcBef>
                <a:spcPts val="3165"/>
              </a:spcBef>
            </a:pPr>
            <a:r>
              <a:rPr sz="1800" b="1" dirty="0">
                <a:latin typeface="Arial"/>
                <a:cs typeface="Arial"/>
              </a:rPr>
              <a:t>A </a:t>
            </a:r>
            <a:r>
              <a:rPr sz="1800" b="1" spc="-5" dirty="0">
                <a:latin typeface="Arial"/>
                <a:cs typeface="Arial"/>
              </a:rPr>
              <a:t>customer </a:t>
            </a:r>
            <a:r>
              <a:rPr sz="1800" b="1" dirty="0">
                <a:latin typeface="Arial"/>
                <a:cs typeface="Arial"/>
              </a:rPr>
              <a:t>is a  </a:t>
            </a:r>
            <a:r>
              <a:rPr sz="1800" b="1" spc="-5" dirty="0">
                <a:latin typeface="Arial"/>
                <a:cs typeface="Arial"/>
              </a:rPr>
              <a:t>business partner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spc="10" dirty="0">
                <a:latin typeface="Arial"/>
                <a:cs typeface="Arial"/>
              </a:rPr>
              <a:t>with  </a:t>
            </a:r>
            <a:r>
              <a:rPr sz="1800" b="1" spc="5" dirty="0">
                <a:latin typeface="Arial"/>
                <a:cs typeface="Arial"/>
              </a:rPr>
              <a:t>whom </a:t>
            </a:r>
            <a:r>
              <a:rPr sz="1800" b="1" spc="-10" dirty="0">
                <a:latin typeface="Arial"/>
                <a:cs typeface="Arial"/>
              </a:rPr>
              <a:t>you</a:t>
            </a:r>
            <a:r>
              <a:rPr sz="1800" b="1" spc="-11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exchang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74040" y="2120137"/>
            <a:ext cx="2152650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goods and</a:t>
            </a:r>
            <a:r>
              <a:rPr sz="1800" b="1" spc="-100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service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60775" y="4537582"/>
            <a:ext cx="4711065" cy="1382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Real time </a:t>
            </a:r>
            <a:r>
              <a:rPr sz="1800" b="1" dirty="0">
                <a:latin typeface="Arial"/>
                <a:cs typeface="Arial"/>
              </a:rPr>
              <a:t>information </a:t>
            </a:r>
            <a:r>
              <a:rPr sz="1800" b="1" spc="-5" dirty="0">
                <a:latin typeface="Arial"/>
                <a:cs typeface="Arial"/>
              </a:rPr>
              <a:t>about availability </a:t>
            </a:r>
            <a:r>
              <a:rPr sz="1800" b="1" dirty="0">
                <a:latin typeface="Arial"/>
                <a:cs typeface="Arial"/>
              </a:rPr>
              <a:t>of  products. Shipping </a:t>
            </a:r>
            <a:r>
              <a:rPr sz="1800" b="1" spc="-5" dirty="0">
                <a:latin typeface="Arial"/>
                <a:cs typeface="Arial"/>
              </a:rPr>
              <a:t>is an </a:t>
            </a:r>
            <a:r>
              <a:rPr sz="1800" b="1" dirty="0">
                <a:latin typeface="Arial"/>
                <a:cs typeface="Arial"/>
              </a:rPr>
              <a:t>important </a:t>
            </a:r>
            <a:r>
              <a:rPr sz="1800" b="1" spc="-5" dirty="0">
                <a:latin typeface="Arial"/>
                <a:cs typeface="Arial"/>
              </a:rPr>
              <a:t>part </a:t>
            </a:r>
            <a:r>
              <a:rPr sz="1800" b="1" dirty="0">
                <a:latin typeface="Arial"/>
                <a:cs typeface="Arial"/>
              </a:rPr>
              <a:t>of  the logistics </a:t>
            </a:r>
            <a:r>
              <a:rPr sz="1800" b="1" spc="-5" dirty="0">
                <a:latin typeface="Arial"/>
                <a:cs typeface="Arial"/>
              </a:rPr>
              <a:t>chain </a:t>
            </a:r>
            <a:r>
              <a:rPr sz="1800" b="1" dirty="0">
                <a:latin typeface="Arial"/>
                <a:cs typeface="Arial"/>
              </a:rPr>
              <a:t>in </a:t>
            </a:r>
            <a:r>
              <a:rPr sz="1800" b="1" spc="5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guaranteed  customer </a:t>
            </a:r>
            <a:r>
              <a:rPr sz="1800" b="1" spc="-10" dirty="0">
                <a:latin typeface="Arial"/>
                <a:cs typeface="Arial"/>
              </a:rPr>
              <a:t>service </a:t>
            </a:r>
            <a:r>
              <a:rPr sz="1800" b="1" dirty="0">
                <a:latin typeface="Arial"/>
                <a:cs typeface="Arial"/>
              </a:rPr>
              <a:t>and distribution planning  support play </a:t>
            </a:r>
            <a:r>
              <a:rPr sz="1800" b="1" spc="-5" dirty="0">
                <a:latin typeface="Arial"/>
                <a:cs typeface="Arial"/>
              </a:rPr>
              <a:t>major</a:t>
            </a:r>
            <a:r>
              <a:rPr sz="1800" b="1" spc="-8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oles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59740" y="3657219"/>
            <a:ext cx="3049270" cy="1861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17700">
              <a:lnSpc>
                <a:spcPct val="100000"/>
              </a:lnSpc>
            </a:pPr>
            <a:r>
              <a:rPr sz="2000" spc="-5" dirty="0">
                <a:solidFill>
                  <a:srgbClr val="3333CC"/>
                </a:solidFill>
                <a:latin typeface="Arial"/>
                <a:cs typeface="Arial"/>
              </a:rPr>
              <a:t>Billing</a:t>
            </a:r>
            <a:r>
              <a:rPr sz="2000" spc="-6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&amp;</a:t>
            </a:r>
            <a:endParaRPr sz="2000" dirty="0">
              <a:latin typeface="Arial"/>
              <a:cs typeface="Arial"/>
            </a:endParaRPr>
          </a:p>
          <a:p>
            <a:pPr marL="1917700">
              <a:lnSpc>
                <a:spcPct val="100000"/>
              </a:lnSpc>
            </a:pP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Collect</a:t>
            </a:r>
            <a:r>
              <a:rPr sz="2000" spc="-10" dirty="0">
                <a:solidFill>
                  <a:srgbClr val="3333CC"/>
                </a:solidFill>
                <a:latin typeface="Arial"/>
                <a:cs typeface="Arial"/>
              </a:rPr>
              <a:t>i</a:t>
            </a:r>
            <a:r>
              <a:rPr sz="2000" dirty="0">
                <a:solidFill>
                  <a:srgbClr val="3333CC"/>
                </a:solidFill>
                <a:latin typeface="Arial"/>
                <a:cs typeface="Arial"/>
              </a:rPr>
              <a:t>on</a:t>
            </a:r>
            <a:endParaRPr sz="2000" dirty="0">
              <a:latin typeface="Arial"/>
              <a:cs typeface="Arial"/>
            </a:endParaRPr>
          </a:p>
          <a:p>
            <a:pPr marL="12700" marR="617855">
              <a:lnSpc>
                <a:spcPct val="100000"/>
              </a:lnSpc>
              <a:spcBef>
                <a:spcPts val="1130"/>
              </a:spcBef>
            </a:pPr>
            <a:r>
              <a:rPr sz="1800" b="1" dirty="0">
                <a:latin typeface="Arial"/>
                <a:cs typeface="Arial"/>
              </a:rPr>
              <a:t>Billing </a:t>
            </a:r>
            <a:r>
              <a:rPr sz="1800" b="1" spc="-5" dirty="0">
                <a:latin typeface="Arial"/>
                <a:cs typeface="Arial"/>
              </a:rPr>
              <a:t>represents </a:t>
            </a:r>
            <a:r>
              <a:rPr sz="1800" b="1" dirty="0">
                <a:latin typeface="Arial"/>
                <a:cs typeface="Arial"/>
              </a:rPr>
              <a:t>the  final </a:t>
            </a:r>
            <a:r>
              <a:rPr sz="1800" b="1" spc="-5" dirty="0">
                <a:latin typeface="Arial"/>
                <a:cs typeface="Arial"/>
              </a:rPr>
              <a:t>processing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tage  for a business  transactio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229099" y="1286510"/>
            <a:ext cx="4425950" cy="31136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Sales order is a contractual agreement  </a:t>
            </a:r>
            <a:r>
              <a:rPr sz="1600" b="1" dirty="0">
                <a:latin typeface="Arial"/>
                <a:cs typeface="Arial"/>
              </a:rPr>
              <a:t>between the organization and </a:t>
            </a:r>
            <a:r>
              <a:rPr sz="1600" b="1" spc="-5" dirty="0">
                <a:latin typeface="Arial"/>
                <a:cs typeface="Arial"/>
              </a:rPr>
              <a:t>a  customer </a:t>
            </a:r>
            <a:r>
              <a:rPr sz="1600" b="1" dirty="0">
                <a:latin typeface="Arial"/>
                <a:cs typeface="Arial"/>
              </a:rPr>
              <a:t>to </a:t>
            </a:r>
            <a:r>
              <a:rPr sz="1600" b="1" spc="-10" dirty="0">
                <a:latin typeface="Arial"/>
                <a:cs typeface="Arial"/>
              </a:rPr>
              <a:t>deliver </a:t>
            </a:r>
            <a:r>
              <a:rPr sz="1600" b="1" dirty="0">
                <a:latin typeface="Arial"/>
                <a:cs typeface="Arial"/>
              </a:rPr>
              <a:t>products </a:t>
            </a:r>
            <a:r>
              <a:rPr sz="1600" b="1" spc="-5" dirty="0">
                <a:latin typeface="Arial"/>
                <a:cs typeface="Arial"/>
              </a:rPr>
              <a:t>or </a:t>
            </a:r>
            <a:r>
              <a:rPr sz="1600" b="1" spc="-10" dirty="0">
                <a:latin typeface="Arial"/>
                <a:cs typeface="Arial"/>
              </a:rPr>
              <a:t>provide  </a:t>
            </a:r>
            <a:r>
              <a:rPr sz="1600" b="1" spc="-5" dirty="0">
                <a:latin typeface="Arial"/>
                <a:cs typeface="Arial"/>
              </a:rPr>
              <a:t>a </a:t>
            </a:r>
            <a:r>
              <a:rPr sz="1600" b="1" spc="-10" dirty="0">
                <a:latin typeface="Arial"/>
                <a:cs typeface="Arial"/>
              </a:rPr>
              <a:t>service </a:t>
            </a:r>
            <a:r>
              <a:rPr sz="1600" b="1" spc="-5" dirty="0">
                <a:latin typeface="Arial"/>
                <a:cs typeface="Arial"/>
              </a:rPr>
              <a:t>for </a:t>
            </a:r>
            <a:r>
              <a:rPr sz="1600" b="1" dirty="0">
                <a:latin typeface="Arial"/>
                <a:cs typeface="Arial"/>
              </a:rPr>
              <a:t>defined </a:t>
            </a:r>
            <a:r>
              <a:rPr sz="1600" b="1" spc="-5" dirty="0">
                <a:latin typeface="Arial"/>
                <a:cs typeface="Arial"/>
              </a:rPr>
              <a:t>prices, </a:t>
            </a:r>
            <a:r>
              <a:rPr sz="1600" b="1" dirty="0">
                <a:latin typeface="Arial"/>
                <a:cs typeface="Arial"/>
              </a:rPr>
              <a:t>quantities  </a:t>
            </a:r>
            <a:r>
              <a:rPr sz="1600" b="1" spc="-5" dirty="0">
                <a:latin typeface="Arial"/>
                <a:cs typeface="Arial"/>
              </a:rPr>
              <a:t>and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imes.</a:t>
            </a:r>
            <a:endParaRPr sz="1600" dirty="0">
              <a:latin typeface="Arial"/>
              <a:cs typeface="Arial"/>
            </a:endParaRPr>
          </a:p>
          <a:p>
            <a:pPr marL="1079500">
              <a:lnSpc>
                <a:spcPct val="100000"/>
              </a:lnSpc>
              <a:spcBef>
                <a:spcPts val="480"/>
              </a:spcBef>
            </a:pPr>
            <a:r>
              <a:rPr sz="1600" dirty="0">
                <a:solidFill>
                  <a:srgbClr val="3333CC"/>
                </a:solidFill>
                <a:latin typeface="Arial"/>
                <a:cs typeface="Arial"/>
              </a:rPr>
              <a:t>Order</a:t>
            </a:r>
            <a:endParaRPr sz="1600" dirty="0">
              <a:latin typeface="Arial"/>
              <a:cs typeface="Arial"/>
            </a:endParaRPr>
          </a:p>
          <a:p>
            <a:pPr marL="1079500">
              <a:lnSpc>
                <a:spcPct val="100000"/>
              </a:lnSpc>
            </a:pPr>
            <a:r>
              <a:rPr sz="1600" dirty="0">
                <a:solidFill>
                  <a:srgbClr val="3333CC"/>
                </a:solidFill>
                <a:latin typeface="Arial"/>
                <a:cs typeface="Arial"/>
              </a:rPr>
              <a:t>Booking</a:t>
            </a:r>
            <a:endParaRPr sz="1600" dirty="0">
              <a:latin typeface="Arial"/>
              <a:cs typeface="Arial"/>
            </a:endParaRPr>
          </a:p>
          <a:p>
            <a:pPr marL="546100">
              <a:lnSpc>
                <a:spcPts val="2210"/>
              </a:lnSpc>
              <a:spcBef>
                <a:spcPts val="1610"/>
              </a:spcBef>
            </a:pPr>
            <a:r>
              <a:rPr sz="1600" spc="-45" dirty="0">
                <a:solidFill>
                  <a:srgbClr val="3333CC"/>
                </a:solidFill>
                <a:latin typeface="Arial"/>
                <a:cs typeface="Arial"/>
              </a:rPr>
              <a:t>Terms </a:t>
            </a:r>
            <a:r>
              <a:rPr sz="1600" dirty="0">
                <a:solidFill>
                  <a:srgbClr val="3333CC"/>
                </a:solidFill>
                <a:latin typeface="Arial"/>
                <a:cs typeface="Arial"/>
              </a:rPr>
              <a:t>&amp;</a:t>
            </a:r>
            <a:r>
              <a:rPr sz="1600" spc="-6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600" dirty="0">
                <a:solidFill>
                  <a:srgbClr val="3333CC"/>
                </a:solidFill>
                <a:latin typeface="Arial"/>
                <a:cs typeface="Arial"/>
              </a:rPr>
              <a:t>Conditions</a:t>
            </a:r>
            <a:endParaRPr sz="1600" dirty="0">
              <a:latin typeface="Arial"/>
              <a:cs typeface="Arial"/>
            </a:endParaRPr>
          </a:p>
          <a:p>
            <a:pPr marL="774700">
              <a:lnSpc>
                <a:spcPts val="1970"/>
              </a:lnSpc>
            </a:pPr>
            <a:r>
              <a:rPr sz="1600" b="1" dirty="0">
                <a:latin typeface="Arial"/>
                <a:cs typeface="Arial"/>
              </a:rPr>
              <a:t>Information about</a:t>
            </a:r>
            <a:r>
              <a:rPr sz="1600" b="1" spc="-9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ices,</a:t>
            </a:r>
            <a:endParaRPr sz="1600" dirty="0">
              <a:latin typeface="Arial"/>
              <a:cs typeface="Arial"/>
            </a:endParaRPr>
          </a:p>
          <a:p>
            <a:pPr marL="774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taxation, attributes </a:t>
            </a:r>
            <a:r>
              <a:rPr sz="1600" b="1" dirty="0">
                <a:latin typeface="Arial"/>
                <a:cs typeface="Arial"/>
              </a:rPr>
              <a:t>of products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&amp;</a:t>
            </a:r>
            <a:endParaRPr sz="1600" dirty="0">
              <a:latin typeface="Arial"/>
              <a:cs typeface="Arial"/>
            </a:endParaRPr>
          </a:p>
          <a:p>
            <a:pPr marL="774700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services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85"/>
              </a:spcBef>
            </a:pPr>
            <a:r>
              <a:rPr sz="1600" dirty="0">
                <a:solidFill>
                  <a:srgbClr val="3333CC"/>
                </a:solidFill>
                <a:latin typeface="Arial"/>
                <a:cs typeface="Arial"/>
              </a:rPr>
              <a:t>Execu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09600" y="5943600"/>
            <a:ext cx="7848600" cy="381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9600" y="5943600"/>
            <a:ext cx="7848600" cy="381000"/>
          </a:xfrm>
          <a:custGeom>
            <a:avLst/>
            <a:gdLst/>
            <a:ahLst/>
            <a:cxnLst/>
            <a:rect l="l" t="t" r="r" b="b"/>
            <a:pathLst>
              <a:path w="7848600" h="381000">
                <a:moveTo>
                  <a:pt x="0" y="63500"/>
                </a:moveTo>
                <a:lnTo>
                  <a:pt x="4990" y="38785"/>
                </a:lnTo>
                <a:lnTo>
                  <a:pt x="18600" y="18600"/>
                </a:lnTo>
                <a:lnTo>
                  <a:pt x="38785" y="4990"/>
                </a:lnTo>
                <a:lnTo>
                  <a:pt x="63500" y="0"/>
                </a:lnTo>
                <a:lnTo>
                  <a:pt x="7785100" y="0"/>
                </a:lnTo>
                <a:lnTo>
                  <a:pt x="7809809" y="4990"/>
                </a:lnTo>
                <a:lnTo>
                  <a:pt x="7829994" y="18600"/>
                </a:lnTo>
                <a:lnTo>
                  <a:pt x="7843607" y="38785"/>
                </a:lnTo>
                <a:lnTo>
                  <a:pt x="7848600" y="63500"/>
                </a:lnTo>
                <a:lnTo>
                  <a:pt x="7848600" y="317500"/>
                </a:lnTo>
                <a:lnTo>
                  <a:pt x="7843607" y="342214"/>
                </a:lnTo>
                <a:lnTo>
                  <a:pt x="7829994" y="362399"/>
                </a:lnTo>
                <a:lnTo>
                  <a:pt x="7809809" y="376009"/>
                </a:lnTo>
                <a:lnTo>
                  <a:pt x="7785100" y="381000"/>
                </a:lnTo>
                <a:lnTo>
                  <a:pt x="63500" y="381000"/>
                </a:lnTo>
                <a:lnTo>
                  <a:pt x="38785" y="376009"/>
                </a:lnTo>
                <a:lnTo>
                  <a:pt x="18600" y="362399"/>
                </a:lnTo>
                <a:lnTo>
                  <a:pt x="4990" y="342214"/>
                </a:lnTo>
                <a:lnTo>
                  <a:pt x="0" y="317500"/>
                </a:lnTo>
                <a:lnTo>
                  <a:pt x="0" y="63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70597" y="5975667"/>
            <a:ext cx="651700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Sales &amp; Distribution people </a:t>
            </a:r>
            <a:r>
              <a:rPr sz="2000" b="1" spc="-10" dirty="0">
                <a:latin typeface="Times New Roman"/>
                <a:cs typeface="Times New Roman"/>
              </a:rPr>
              <a:t>are </a:t>
            </a:r>
            <a:r>
              <a:rPr sz="2000" b="1" dirty="0">
                <a:latin typeface="Times New Roman"/>
                <a:cs typeface="Times New Roman"/>
              </a:rPr>
              <a:t>involved in several</a:t>
            </a:r>
            <a:r>
              <a:rPr sz="2000" b="1" spc="-210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activities</a:t>
            </a:r>
            <a:endParaRPr sz="2000" dirty="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352800" y="2474976"/>
            <a:ext cx="1752600" cy="16144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990088" y="260604"/>
            <a:ext cx="886967" cy="8976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4475">
              <a:lnSpc>
                <a:spcPct val="100000"/>
              </a:lnSpc>
            </a:pPr>
            <a:r>
              <a:rPr dirty="0"/>
              <a:t>Challenges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3067050" y="1292288"/>
            <a:ext cx="4972050" cy="91630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00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15"/>
              </a:spcBef>
            </a:pPr>
            <a:r>
              <a:rPr sz="1800" b="1" dirty="0">
                <a:latin typeface="Arial"/>
                <a:cs typeface="Arial"/>
              </a:rPr>
              <a:t>Who </a:t>
            </a:r>
            <a:r>
              <a:rPr sz="1800" b="1" spc="-5" dirty="0">
                <a:latin typeface="Arial"/>
                <a:cs typeface="Arial"/>
              </a:rPr>
              <a:t>are </a:t>
            </a:r>
            <a:r>
              <a:rPr sz="1800" b="1" dirty="0">
                <a:latin typeface="Arial"/>
                <a:cs typeface="Arial"/>
              </a:rPr>
              <a:t>my </a:t>
            </a:r>
            <a:r>
              <a:rPr sz="1800" b="1" spc="-5" dirty="0">
                <a:latin typeface="Arial"/>
                <a:cs typeface="Arial"/>
              </a:rPr>
              <a:t>customers and </a:t>
            </a:r>
            <a:r>
              <a:rPr sz="1800" b="1" spc="5" dirty="0">
                <a:latin typeface="Arial"/>
                <a:cs typeface="Arial"/>
              </a:rPr>
              <a:t>where </a:t>
            </a:r>
            <a:r>
              <a:rPr sz="1800" b="1" dirty="0">
                <a:latin typeface="Arial"/>
                <a:cs typeface="Arial"/>
              </a:rPr>
              <a:t>they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are?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What do </a:t>
            </a:r>
            <a:r>
              <a:rPr sz="1800" b="1" spc="-5" dirty="0">
                <a:latin typeface="Arial"/>
                <a:cs typeface="Arial"/>
              </a:rPr>
              <a:t>they buy? </a:t>
            </a:r>
            <a:r>
              <a:rPr sz="1800" b="1" dirty="0">
                <a:latin typeface="Arial"/>
                <a:cs typeface="Arial"/>
              </a:rPr>
              <a:t>How</a:t>
            </a:r>
            <a:r>
              <a:rPr sz="1800" b="1" spc="-9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much?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What </a:t>
            </a:r>
            <a:r>
              <a:rPr sz="1800" b="1" spc="-5" dirty="0">
                <a:latin typeface="Arial"/>
                <a:cs typeface="Arial"/>
              </a:rPr>
              <a:t>are </a:t>
            </a:r>
            <a:r>
              <a:rPr sz="1800" b="1" dirty="0">
                <a:latin typeface="Arial"/>
                <a:cs typeface="Arial"/>
              </a:rPr>
              <a:t>the open </a:t>
            </a:r>
            <a:r>
              <a:rPr sz="1800" b="1" spc="-5" dirty="0">
                <a:latin typeface="Arial"/>
                <a:cs typeface="Arial"/>
              </a:rPr>
              <a:t>transactions </a:t>
            </a:r>
            <a:r>
              <a:rPr sz="1800" b="1" spc="10" dirty="0">
                <a:latin typeface="Arial"/>
                <a:cs typeface="Arial"/>
              </a:rPr>
              <a:t>with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them?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11200" y="1219136"/>
            <a:ext cx="1882775" cy="12493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85800" y="2689288"/>
            <a:ext cx="3130550" cy="91630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005" rIns="0" bIns="0" rtlCol="0">
            <a:spAutoFit/>
          </a:bodyPr>
          <a:lstStyle/>
          <a:p>
            <a:pPr marL="91440" marR="87630">
              <a:lnSpc>
                <a:spcPct val="100000"/>
              </a:lnSpc>
              <a:spcBef>
                <a:spcPts val="315"/>
              </a:spcBef>
            </a:pPr>
            <a:r>
              <a:rPr sz="1800" b="1" dirty="0">
                <a:latin typeface="Arial"/>
                <a:cs typeface="Arial"/>
              </a:rPr>
              <a:t>What </a:t>
            </a:r>
            <a:r>
              <a:rPr sz="1800" b="1" spc="-5" dirty="0">
                <a:latin typeface="Arial"/>
                <a:cs typeface="Arial"/>
              </a:rPr>
              <a:t>is my </a:t>
            </a:r>
            <a:r>
              <a:rPr sz="1800" b="1" dirty="0">
                <a:latin typeface="Arial"/>
                <a:cs typeface="Arial"/>
              </a:rPr>
              <a:t>product</a:t>
            </a:r>
            <a:r>
              <a:rPr sz="1800" b="1" spc="-8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ange?  Is </a:t>
            </a:r>
            <a:r>
              <a:rPr sz="1800" b="1" dirty="0">
                <a:latin typeface="Arial"/>
                <a:cs typeface="Arial"/>
              </a:rPr>
              <a:t>it </a:t>
            </a:r>
            <a:r>
              <a:rPr sz="1800" b="1" spc="-10" dirty="0">
                <a:latin typeface="Arial"/>
                <a:cs typeface="Arial"/>
              </a:rPr>
              <a:t>available?</a:t>
            </a:r>
            <a:r>
              <a:rPr sz="1800" b="1" spc="-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When?</a:t>
            </a:r>
            <a:endParaRPr sz="180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When </a:t>
            </a:r>
            <a:r>
              <a:rPr sz="1800" b="1" spc="-5" dirty="0">
                <a:latin typeface="Arial"/>
                <a:cs typeface="Arial"/>
              </a:rPr>
              <a:t>can </a:t>
            </a:r>
            <a:r>
              <a:rPr sz="1800" b="1" dirty="0">
                <a:latin typeface="Arial"/>
                <a:cs typeface="Arial"/>
              </a:rPr>
              <a:t>it </a:t>
            </a:r>
            <a:r>
              <a:rPr sz="1800" b="1" spc="-5" dirty="0">
                <a:latin typeface="Arial"/>
                <a:cs typeface="Arial"/>
              </a:rPr>
              <a:t>be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delivered?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505200" y="3946461"/>
            <a:ext cx="5238750" cy="91630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075" marR="86995">
              <a:lnSpc>
                <a:spcPct val="100000"/>
              </a:lnSpc>
              <a:spcBef>
                <a:spcPts val="320"/>
              </a:spcBef>
            </a:pPr>
            <a:r>
              <a:rPr sz="1800" b="1" dirty="0">
                <a:latin typeface="Arial"/>
                <a:cs typeface="Arial"/>
              </a:rPr>
              <a:t>What </a:t>
            </a:r>
            <a:r>
              <a:rPr sz="1800" b="1" spc="-5" dirty="0">
                <a:latin typeface="Arial"/>
                <a:cs typeface="Arial"/>
              </a:rPr>
              <a:t>are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prices? Can </a:t>
            </a:r>
            <a:r>
              <a:rPr sz="1800" b="1" dirty="0">
                <a:latin typeface="Arial"/>
                <a:cs typeface="Arial"/>
              </a:rPr>
              <a:t>I </a:t>
            </a:r>
            <a:r>
              <a:rPr sz="1800" b="1" spc="-5" dirty="0">
                <a:latin typeface="Arial"/>
                <a:cs typeface="Arial"/>
              </a:rPr>
              <a:t>offer any </a:t>
            </a:r>
            <a:r>
              <a:rPr sz="1800" b="1" dirty="0">
                <a:latin typeface="Arial"/>
                <a:cs typeface="Arial"/>
              </a:rPr>
              <a:t>discount?  Which promotional </a:t>
            </a:r>
            <a:r>
              <a:rPr sz="1800" b="1" spc="-5" dirty="0">
                <a:latin typeface="Arial"/>
                <a:cs typeface="Arial"/>
              </a:rPr>
              <a:t>offers are</a:t>
            </a:r>
            <a:r>
              <a:rPr sz="1800" b="1" spc="-9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on?</a:t>
            </a:r>
            <a:endParaRPr sz="1800">
              <a:latin typeface="Arial"/>
              <a:cs typeface="Arial"/>
            </a:endParaRPr>
          </a:p>
          <a:p>
            <a:pPr marL="92075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What </a:t>
            </a:r>
            <a:r>
              <a:rPr sz="1800" b="1" spc="-5" dirty="0">
                <a:latin typeface="Arial"/>
                <a:cs typeface="Arial"/>
              </a:rPr>
              <a:t>are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taxes </a:t>
            </a:r>
            <a:r>
              <a:rPr sz="1800" b="1" dirty="0">
                <a:latin typeface="Arial"/>
                <a:cs typeface="Arial"/>
              </a:rPr>
              <a:t>and </a:t>
            </a:r>
            <a:r>
              <a:rPr sz="1800" b="1" spc="-5" dirty="0">
                <a:latin typeface="Arial"/>
                <a:cs typeface="Arial"/>
              </a:rPr>
              <a:t>legal</a:t>
            </a:r>
            <a:r>
              <a:rPr sz="1800" b="1" spc="-4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equirements?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057400" y="3914775"/>
            <a:ext cx="1047750" cy="103822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181600" y="2743200"/>
            <a:ext cx="952500" cy="838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81000" y="5178425"/>
            <a:ext cx="5378450" cy="91630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640" rIns="0" bIns="0" rtlCol="0">
            <a:spAutoFit/>
          </a:bodyPr>
          <a:lstStyle/>
          <a:p>
            <a:pPr marL="91440" marR="87630">
              <a:lnSpc>
                <a:spcPct val="100000"/>
              </a:lnSpc>
              <a:spcBef>
                <a:spcPts val="320"/>
              </a:spcBef>
            </a:pPr>
            <a:r>
              <a:rPr sz="1800" b="1" dirty="0">
                <a:latin typeface="Arial"/>
                <a:cs typeface="Arial"/>
              </a:rPr>
              <a:t>What </a:t>
            </a:r>
            <a:r>
              <a:rPr sz="1800" b="1" spc="-5" dirty="0">
                <a:latin typeface="Arial"/>
                <a:cs typeface="Arial"/>
              </a:rPr>
              <a:t>is my order </a:t>
            </a:r>
            <a:r>
              <a:rPr sz="1800" b="1" dirty="0">
                <a:latin typeface="Arial"/>
                <a:cs typeface="Arial"/>
              </a:rPr>
              <a:t>booking </a:t>
            </a:r>
            <a:r>
              <a:rPr sz="1800" b="1" spc="-10" dirty="0">
                <a:latin typeface="Arial"/>
                <a:cs typeface="Arial"/>
              </a:rPr>
              <a:t>value </a:t>
            </a:r>
            <a:r>
              <a:rPr sz="1800" b="1" spc="-5" dirty="0">
                <a:latin typeface="Arial"/>
                <a:cs typeface="Arial"/>
              </a:rPr>
              <a:t>for </a:t>
            </a:r>
            <a:r>
              <a:rPr sz="1800" b="1" dirty="0">
                <a:latin typeface="Arial"/>
                <a:cs typeface="Arial"/>
              </a:rPr>
              <a:t>this month?  How </a:t>
            </a:r>
            <a:r>
              <a:rPr sz="1800" b="1" spc="-5" dirty="0">
                <a:latin typeface="Arial"/>
                <a:cs typeface="Arial"/>
              </a:rPr>
              <a:t>much </a:t>
            </a:r>
            <a:r>
              <a:rPr sz="1800" b="1" dirty="0">
                <a:latin typeface="Arial"/>
                <a:cs typeface="Arial"/>
              </a:rPr>
              <a:t>is </a:t>
            </a:r>
            <a:r>
              <a:rPr sz="1800" b="1" spc="-10" dirty="0">
                <a:latin typeface="Arial"/>
                <a:cs typeface="Arial"/>
              </a:rPr>
              <a:t>my </a:t>
            </a:r>
            <a:r>
              <a:rPr sz="1800" b="1" spc="-5" dirty="0">
                <a:latin typeface="Arial"/>
                <a:cs typeface="Arial"/>
              </a:rPr>
              <a:t>receivables </a:t>
            </a:r>
            <a:r>
              <a:rPr sz="1800" b="1" spc="-10" dirty="0">
                <a:latin typeface="Arial"/>
                <a:cs typeface="Arial"/>
              </a:rPr>
              <a:t>overdue </a:t>
            </a:r>
            <a:r>
              <a:rPr sz="1800" b="1" spc="-5" dirty="0">
                <a:latin typeface="Arial"/>
                <a:cs typeface="Arial"/>
              </a:rPr>
              <a:t>amount?  </a:t>
            </a:r>
            <a:r>
              <a:rPr sz="1800" b="1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region is </a:t>
            </a:r>
            <a:r>
              <a:rPr sz="1800" b="1" spc="5" dirty="0">
                <a:latin typeface="Arial"/>
                <a:cs typeface="Arial"/>
              </a:rPr>
              <a:t>showing</a:t>
            </a:r>
            <a:r>
              <a:rPr sz="1800" b="1" spc="-130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growth?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400800" y="5181600"/>
            <a:ext cx="1790700" cy="6858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Theme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1" id="{6EE05BAF-6D34-4B73-9F03-3125218C19A6}" vid="{50A107FA-C2B8-4C4B-8369-0F6743BABCE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81</TotalTime>
  <Words>6453</Words>
  <Application>Microsoft Office PowerPoint</Application>
  <PresentationFormat>On-screen Show (4:3)</PresentationFormat>
  <Paragraphs>805</Paragraphs>
  <Slides>6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69" baseType="lpstr">
      <vt:lpstr>Theme1</vt:lpstr>
      <vt:lpstr>think-cell Slide</vt:lpstr>
      <vt:lpstr>Slide 1</vt:lpstr>
      <vt:lpstr>  Lesson Objectives</vt:lpstr>
      <vt:lpstr>  Lesson Objectives</vt:lpstr>
      <vt:lpstr>Sales &amp; Distribution</vt:lpstr>
      <vt:lpstr>Sales &amp; Distribution…?</vt:lpstr>
      <vt:lpstr>Purpose</vt:lpstr>
      <vt:lpstr>Sales &amp; Distribution</vt:lpstr>
      <vt:lpstr>Slide 8</vt:lpstr>
      <vt:lpstr>Challenges</vt:lpstr>
      <vt:lpstr>Challenges</vt:lpstr>
      <vt:lpstr>Overview of Sales &amp; Distribution</vt:lpstr>
      <vt:lpstr>Organization Structure</vt:lpstr>
      <vt:lpstr>Organization Structure</vt:lpstr>
      <vt:lpstr>Master Data</vt:lpstr>
      <vt:lpstr>Utilities</vt:lpstr>
      <vt:lpstr>Utilities                              Important SD basic functions continued…….:</vt:lpstr>
      <vt:lpstr>Standard Processes in SD</vt:lpstr>
      <vt:lpstr>Standard Processes in SD</vt:lpstr>
      <vt:lpstr>Special Process in SD</vt:lpstr>
      <vt:lpstr>Special Process in SD</vt:lpstr>
      <vt:lpstr>Integration</vt:lpstr>
      <vt:lpstr>Integration with FI</vt:lpstr>
      <vt:lpstr>Integration MM &amp; PP</vt:lpstr>
      <vt:lpstr>SAP Screen Elements</vt:lpstr>
      <vt:lpstr>Organisational Structure - Definition</vt:lpstr>
      <vt:lpstr>Organisational Structure - Definition</vt:lpstr>
      <vt:lpstr>Organisational Structure - Definition</vt:lpstr>
      <vt:lpstr>Organisational Structure - Assignment</vt:lpstr>
      <vt:lpstr>Organisational Structure - Example</vt:lpstr>
      <vt:lpstr>Master Data – Material Master</vt:lpstr>
      <vt:lpstr>Master Data – Material Master</vt:lpstr>
      <vt:lpstr>Master Data – Material Master</vt:lpstr>
      <vt:lpstr>Master Data – Material Master Material Type is an SAP way of grouping materials with same basic  attributes.</vt:lpstr>
      <vt:lpstr>Master Data – Customer Master</vt:lpstr>
      <vt:lpstr>Master Data – Customer Master</vt:lpstr>
      <vt:lpstr>Master Data – Customer Master</vt:lpstr>
      <vt:lpstr>Master Data – Customer Master</vt:lpstr>
      <vt:lpstr>Master Data – Customer Material info</vt:lpstr>
      <vt:lpstr>Utilities – Pricing</vt:lpstr>
      <vt:lpstr>Utilities – Pricing</vt:lpstr>
      <vt:lpstr>Utilities – Texts</vt:lpstr>
      <vt:lpstr>Utilities – Text</vt:lpstr>
      <vt:lpstr>Utilities – Output</vt:lpstr>
      <vt:lpstr>Utilities – Output Determination</vt:lpstr>
      <vt:lpstr>Utilities – Free Goods</vt:lpstr>
      <vt:lpstr>Utilities – Free Goods</vt:lpstr>
      <vt:lpstr>Utilities – Cross Selling</vt:lpstr>
      <vt:lpstr>Utilities – Cross Selling</vt:lpstr>
      <vt:lpstr>Utilities – Material Determination</vt:lpstr>
      <vt:lpstr>Utilities – Material Determination</vt:lpstr>
      <vt:lpstr>Utilities – Listing &amp; Exclusion</vt:lpstr>
      <vt:lpstr>Utilities – Listing &amp; Exclusion</vt:lpstr>
      <vt:lpstr>Condition Technique</vt:lpstr>
      <vt:lpstr>Condition Technique (Cont-d)</vt:lpstr>
      <vt:lpstr>Sales Process – Inquiry &amp; Quotation</vt:lpstr>
      <vt:lpstr>Sales Process - Sales</vt:lpstr>
      <vt:lpstr>Sales Process - Sales</vt:lpstr>
      <vt:lpstr>Sales Process - Delivery</vt:lpstr>
      <vt:lpstr>Sales Process - Delivery</vt:lpstr>
      <vt:lpstr>Sales Process - Billing</vt:lpstr>
      <vt:lpstr>Sales Process - Billing</vt:lpstr>
      <vt:lpstr>Sales Process – Credit/Debit Memo</vt:lpstr>
      <vt:lpstr>Sales Process - Tracking</vt:lpstr>
      <vt:lpstr>LetMe</vt:lpstr>
      <vt:lpstr>LetMe</vt:lpstr>
      <vt:lpstr>Tips and Tricks</vt:lpstr>
      <vt:lpstr>Additional Inf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0001 Sales &amp; Distribution Overview</dc:title>
  <dc:subject>SD Training User Manual</dc:subject>
  <dc:creator>Avinash Karve</dc:creator>
  <cp:lastModifiedBy>amnanda</cp:lastModifiedBy>
  <cp:revision>32</cp:revision>
  <dcterms:created xsi:type="dcterms:W3CDTF">2017-07-13T13:22:35Z</dcterms:created>
  <dcterms:modified xsi:type="dcterms:W3CDTF">2017-08-25T05:2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1-21T00:00:00Z</vt:filetime>
  </property>
  <property fmtid="{D5CDD505-2E9C-101B-9397-08002B2CF9AE}" pid="3" name="Creator">
    <vt:lpwstr>Microsoft® Office PowerPoint® 2007</vt:lpwstr>
  </property>
  <property fmtid="{D5CDD505-2E9C-101B-9397-08002B2CF9AE}" pid="4" name="LastSaved">
    <vt:filetime>2017-07-13T00:00:00Z</vt:filetime>
  </property>
</Properties>
</file>